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theme/theme5.xml" ContentType="application/vnd.openxmlformats-officedocument.theme+xml"/>
  <Override PartName="/ppt/slideLayouts/slideLayout15.xml" ContentType="application/vnd.openxmlformats-officedocument.presentationml.slideLayout+xml"/>
  <Override PartName="/ppt/theme/theme6.xml" ContentType="application/vnd.openxmlformats-officedocument.theme+xml"/>
  <Override PartName="/ppt/slideLayouts/slideLayout16.xml" ContentType="application/vnd.openxmlformats-officedocument.presentationml.slideLayout+xml"/>
  <Override PartName="/ppt/theme/theme7.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8.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2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4"/>
    <p:sldMasterId id="2147483666" r:id="rId5"/>
    <p:sldMasterId id="2147483679" r:id="rId6"/>
    <p:sldMasterId id="2147483686" r:id="rId7"/>
    <p:sldMasterId id="2147483688" r:id="rId8"/>
    <p:sldMasterId id="2147483690" r:id="rId9"/>
    <p:sldMasterId id="2147483660" r:id="rId10"/>
    <p:sldMasterId id="2147483706" r:id="rId11"/>
    <p:sldMasterId id="2147483700" r:id="rId12"/>
    <p:sldMasterId id="2147483693" r:id="rId13"/>
  </p:sldMasterIdLst>
  <p:notesMasterIdLst>
    <p:notesMasterId r:id="rId82"/>
  </p:notesMasterIdLst>
  <p:sldIdLst>
    <p:sldId id="303" r:id="rId14"/>
    <p:sldId id="336" r:id="rId15"/>
    <p:sldId id="284" r:id="rId16"/>
    <p:sldId id="293" r:id="rId17"/>
    <p:sldId id="294" r:id="rId18"/>
    <p:sldId id="305" r:id="rId19"/>
    <p:sldId id="306" r:id="rId20"/>
    <p:sldId id="338" r:id="rId21"/>
    <p:sldId id="307" r:id="rId22"/>
    <p:sldId id="283" r:id="rId23"/>
    <p:sldId id="345" r:id="rId24"/>
    <p:sldId id="346" r:id="rId25"/>
    <p:sldId id="347" r:id="rId26"/>
    <p:sldId id="348" r:id="rId27"/>
    <p:sldId id="349" r:id="rId28"/>
    <p:sldId id="350" r:id="rId29"/>
    <p:sldId id="351" r:id="rId30"/>
    <p:sldId id="352" r:id="rId31"/>
    <p:sldId id="353" r:id="rId32"/>
    <p:sldId id="354" r:id="rId33"/>
    <p:sldId id="355" r:id="rId34"/>
    <p:sldId id="308" r:id="rId35"/>
    <p:sldId id="309" r:id="rId36"/>
    <p:sldId id="340" r:id="rId37"/>
    <p:sldId id="341" r:id="rId38"/>
    <p:sldId id="339" r:id="rId39"/>
    <p:sldId id="337" r:id="rId40"/>
    <p:sldId id="316" r:id="rId41"/>
    <p:sldId id="317" r:id="rId42"/>
    <p:sldId id="315" r:id="rId43"/>
    <p:sldId id="312" r:id="rId44"/>
    <p:sldId id="311" r:id="rId45"/>
    <p:sldId id="356" r:id="rId46"/>
    <p:sldId id="299" r:id="rId47"/>
    <p:sldId id="260" r:id="rId48"/>
    <p:sldId id="261" r:id="rId49"/>
    <p:sldId id="277" r:id="rId50"/>
    <p:sldId id="278" r:id="rId51"/>
    <p:sldId id="318" r:id="rId52"/>
    <p:sldId id="279" r:id="rId53"/>
    <p:sldId id="280" r:id="rId54"/>
    <p:sldId id="281" r:id="rId55"/>
    <p:sldId id="282" r:id="rId56"/>
    <p:sldId id="319" r:id="rId57"/>
    <p:sldId id="320" r:id="rId58"/>
    <p:sldId id="321" r:id="rId59"/>
    <p:sldId id="322" r:id="rId60"/>
    <p:sldId id="323" r:id="rId61"/>
    <p:sldId id="324" r:id="rId62"/>
    <p:sldId id="325" r:id="rId63"/>
    <p:sldId id="326" r:id="rId64"/>
    <p:sldId id="327" r:id="rId65"/>
    <p:sldId id="328" r:id="rId66"/>
    <p:sldId id="329" r:id="rId67"/>
    <p:sldId id="330" r:id="rId68"/>
    <p:sldId id="331" r:id="rId69"/>
    <p:sldId id="332" r:id="rId70"/>
    <p:sldId id="343" r:id="rId71"/>
    <p:sldId id="333" r:id="rId72"/>
    <p:sldId id="334" r:id="rId73"/>
    <p:sldId id="335" r:id="rId74"/>
    <p:sldId id="302" r:id="rId75"/>
    <p:sldId id="300" r:id="rId76"/>
    <p:sldId id="301" r:id="rId77"/>
    <p:sldId id="313" r:id="rId78"/>
    <p:sldId id="314" r:id="rId79"/>
    <p:sldId id="342" r:id="rId80"/>
    <p:sldId id="304" r:id="rId81"/>
  </p:sldIdLst>
  <p:sldSz cx="10693400" cy="7556500"/>
  <p:notesSz cx="9774238" cy="6724650"/>
  <p:defaultTextStyle>
    <a:defPPr>
      <a:defRPr kern="0"/>
    </a:defPPr>
  </p:defaultTextStyle>
  <p:extLst>
    <p:ext uri="{EFAFB233-063F-42B5-8137-9DF3F51BA10A}">
      <p15:sldGuideLst xmlns:p15="http://schemas.microsoft.com/office/powerpoint/2012/main">
        <p15:guide id="1" orient="horz" pos="2524" userDrawn="1">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8150"/>
    <a:srgbClr val="2E38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4687"/>
  </p:normalViewPr>
  <p:slideViewPr>
    <p:cSldViewPr>
      <p:cViewPr varScale="1">
        <p:scale>
          <a:sx n="79" d="100"/>
          <a:sy n="79" d="100"/>
        </p:scale>
        <p:origin x="1152" y="72"/>
      </p:cViewPr>
      <p:guideLst>
        <p:guide orient="horz" pos="2524"/>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viewProps" Target="viewProps.xml"/><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2.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microsoft.com/office/2016/11/relationships/changesInfo" Target="changesInfos/changesInfo1.xml"/><Relationship Id="rId61" Type="http://schemas.openxmlformats.org/officeDocument/2006/relationships/slide" Target="slides/slide48.xml"/><Relationship Id="rId8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yn Bryant" userId="4fe4de5a-9b69-40ba-b264-41cad4362eb3" providerId="ADAL" clId="{F9FE6788-FEC7-4F47-A33E-654DE589B1ED}"/>
    <pc:docChg chg="custSel modSld">
      <pc:chgData name="Carolyn Bryant" userId="4fe4de5a-9b69-40ba-b264-41cad4362eb3" providerId="ADAL" clId="{F9FE6788-FEC7-4F47-A33E-654DE589B1ED}" dt="2025-03-20T05:45:39.472" v="2" actId="1076"/>
      <pc:docMkLst>
        <pc:docMk/>
      </pc:docMkLst>
      <pc:sldChg chg="addSp delSp modSp mod">
        <pc:chgData name="Carolyn Bryant" userId="4fe4de5a-9b69-40ba-b264-41cad4362eb3" providerId="ADAL" clId="{F9FE6788-FEC7-4F47-A33E-654DE589B1ED}" dt="2025-03-20T05:45:39.472" v="2" actId="1076"/>
        <pc:sldMkLst>
          <pc:docMk/>
          <pc:sldMk cId="1940304490" sldId="389"/>
        </pc:sldMkLst>
      </pc:sldChg>
    </pc:docChg>
  </pc:docChgLst>
  <pc:docChgLst>
    <pc:chgData name="Leanne Manning" userId="730c7ce9-f6b4-453e-88a2-34d7f1a5ff9e" providerId="ADAL" clId="{1ACF3EB0-E21B-44EC-9BBB-55F0C183B15D}"/>
    <pc:docChg chg="undo custSel addSld delSld modSld sldOrd addMainMaster delMainMaster modMainMaster modNotesMaster">
      <pc:chgData name="Leanne Manning" userId="730c7ce9-f6b4-453e-88a2-34d7f1a5ff9e" providerId="ADAL" clId="{1ACF3EB0-E21B-44EC-9BBB-55F0C183B15D}" dt="2025-05-12T00:50:14.208" v="1155" actId="1076"/>
      <pc:docMkLst>
        <pc:docMk/>
      </pc:docMkLst>
      <pc:sldChg chg="ord">
        <pc:chgData name="Leanne Manning" userId="730c7ce9-f6b4-453e-88a2-34d7f1a5ff9e" providerId="ADAL" clId="{1ACF3EB0-E21B-44EC-9BBB-55F0C183B15D}" dt="2025-05-07T09:02:12.440" v="321"/>
        <pc:sldMkLst>
          <pc:docMk/>
          <pc:sldMk cId="2027801210" sldId="261"/>
        </pc:sldMkLst>
      </pc:sldChg>
      <pc:sldChg chg="del">
        <pc:chgData name="Leanne Manning" userId="730c7ce9-f6b4-453e-88a2-34d7f1a5ff9e" providerId="ADAL" clId="{1ACF3EB0-E21B-44EC-9BBB-55F0C183B15D}" dt="2025-05-07T09:14:07.461" v="324" actId="47"/>
        <pc:sldMkLst>
          <pc:docMk/>
          <pc:sldMk cId="3101397612" sldId="274"/>
        </pc:sldMkLst>
      </pc:sldChg>
      <pc:sldChg chg="modSp mod">
        <pc:chgData name="Leanne Manning" userId="730c7ce9-f6b4-453e-88a2-34d7f1a5ff9e" providerId="ADAL" clId="{1ACF3EB0-E21B-44EC-9BBB-55F0C183B15D}" dt="2025-05-07T02:10:22.540" v="126" actId="6549"/>
        <pc:sldMkLst>
          <pc:docMk/>
          <pc:sldMk cId="4067590758" sldId="277"/>
        </pc:sldMkLst>
        <pc:spChg chg="mod">
          <ac:chgData name="Leanne Manning" userId="730c7ce9-f6b4-453e-88a2-34d7f1a5ff9e" providerId="ADAL" clId="{1ACF3EB0-E21B-44EC-9BBB-55F0C183B15D}" dt="2025-05-07T02:10:22.540" v="126" actId="6549"/>
          <ac:spMkLst>
            <pc:docMk/>
            <pc:sldMk cId="4067590758" sldId="277"/>
            <ac:spMk id="2" creationId="{BB8876F5-DA77-7EF2-EA87-45A8F0193A40}"/>
          </ac:spMkLst>
        </pc:spChg>
      </pc:sldChg>
      <pc:sldChg chg="modSp mod">
        <pc:chgData name="Leanne Manning" userId="730c7ce9-f6b4-453e-88a2-34d7f1a5ff9e" providerId="ADAL" clId="{1ACF3EB0-E21B-44EC-9BBB-55F0C183B15D}" dt="2025-05-07T23:14:35.702" v="678" actId="1076"/>
        <pc:sldMkLst>
          <pc:docMk/>
          <pc:sldMk cId="1169831013" sldId="278"/>
        </pc:sldMkLst>
        <pc:spChg chg="mod">
          <ac:chgData name="Leanne Manning" userId="730c7ce9-f6b4-453e-88a2-34d7f1a5ff9e" providerId="ADAL" clId="{1ACF3EB0-E21B-44EC-9BBB-55F0C183B15D}" dt="2025-05-07T23:14:35.702" v="678" actId="1076"/>
          <ac:spMkLst>
            <pc:docMk/>
            <pc:sldMk cId="1169831013" sldId="278"/>
            <ac:spMk id="3" creationId="{C686E630-A506-182B-DDCE-E4F7E15CC5EF}"/>
          </ac:spMkLst>
        </pc:spChg>
      </pc:sldChg>
      <pc:sldChg chg="add">
        <pc:chgData name="Leanne Manning" userId="730c7ce9-f6b4-453e-88a2-34d7f1a5ff9e" providerId="ADAL" clId="{1ACF3EB0-E21B-44EC-9BBB-55F0C183B15D}" dt="2025-05-05T23:37:16.743" v="3"/>
        <pc:sldMkLst>
          <pc:docMk/>
          <pc:sldMk cId="3806401045" sldId="279"/>
        </pc:sldMkLst>
      </pc:sldChg>
      <pc:sldChg chg="add">
        <pc:chgData name="Leanne Manning" userId="730c7ce9-f6b4-453e-88a2-34d7f1a5ff9e" providerId="ADAL" clId="{1ACF3EB0-E21B-44EC-9BBB-55F0C183B15D}" dt="2025-05-05T23:37:19.198" v="5"/>
        <pc:sldMkLst>
          <pc:docMk/>
          <pc:sldMk cId="3969676865" sldId="280"/>
        </pc:sldMkLst>
      </pc:sldChg>
      <pc:sldChg chg="add">
        <pc:chgData name="Leanne Manning" userId="730c7ce9-f6b4-453e-88a2-34d7f1a5ff9e" providerId="ADAL" clId="{1ACF3EB0-E21B-44EC-9BBB-55F0C183B15D}" dt="2025-05-05T23:37:20.972" v="7"/>
        <pc:sldMkLst>
          <pc:docMk/>
          <pc:sldMk cId="1414802136" sldId="281"/>
        </pc:sldMkLst>
      </pc:sldChg>
      <pc:sldChg chg="modSp add mod">
        <pc:chgData name="Leanne Manning" userId="730c7ce9-f6b4-453e-88a2-34d7f1a5ff9e" providerId="ADAL" clId="{1ACF3EB0-E21B-44EC-9BBB-55F0C183B15D}" dt="2025-05-07T23:16:00.124" v="680" actId="1076"/>
        <pc:sldMkLst>
          <pc:docMk/>
          <pc:sldMk cId="2681929778" sldId="282"/>
        </pc:sldMkLst>
        <pc:spChg chg="mod">
          <ac:chgData name="Leanne Manning" userId="730c7ce9-f6b4-453e-88a2-34d7f1a5ff9e" providerId="ADAL" clId="{1ACF3EB0-E21B-44EC-9BBB-55F0C183B15D}" dt="2025-05-07T23:16:00.124" v="680" actId="1076"/>
          <ac:spMkLst>
            <pc:docMk/>
            <pc:sldMk cId="2681929778" sldId="282"/>
            <ac:spMk id="3" creationId="{129F9BCC-0B93-7486-B0F8-5E4F8C512E94}"/>
          </ac:spMkLst>
        </pc:spChg>
      </pc:sldChg>
      <pc:sldChg chg="modSp add mod ord">
        <pc:chgData name="Leanne Manning" userId="730c7ce9-f6b4-453e-88a2-34d7f1a5ff9e" providerId="ADAL" clId="{1ACF3EB0-E21B-44EC-9BBB-55F0C183B15D}" dt="2025-05-08T02:55:34.432" v="1000" actId="14100"/>
        <pc:sldMkLst>
          <pc:docMk/>
          <pc:sldMk cId="1975784779" sldId="283"/>
        </pc:sldMkLst>
        <pc:spChg chg="mod">
          <ac:chgData name="Leanne Manning" userId="730c7ce9-f6b4-453e-88a2-34d7f1a5ff9e" providerId="ADAL" clId="{1ACF3EB0-E21B-44EC-9BBB-55F0C183B15D}" dt="2025-05-08T02:55:34.432" v="1000" actId="14100"/>
          <ac:spMkLst>
            <pc:docMk/>
            <pc:sldMk cId="1975784779" sldId="283"/>
            <ac:spMk id="2" creationId="{BE731D3C-9C67-5B09-15F2-768EE64137D0}"/>
          </ac:spMkLst>
        </pc:spChg>
      </pc:sldChg>
      <pc:sldChg chg="add ord">
        <pc:chgData name="Leanne Manning" userId="730c7ce9-f6b4-453e-88a2-34d7f1a5ff9e" providerId="ADAL" clId="{1ACF3EB0-E21B-44EC-9BBB-55F0C183B15D}" dt="2025-05-05T23:45:16.734" v="17"/>
        <pc:sldMkLst>
          <pc:docMk/>
          <pc:sldMk cId="818855471" sldId="284"/>
        </pc:sldMkLst>
      </pc:sldChg>
      <pc:sldChg chg="add del">
        <pc:chgData name="Leanne Manning" userId="730c7ce9-f6b4-453e-88a2-34d7f1a5ff9e" providerId="ADAL" clId="{1ACF3EB0-E21B-44EC-9BBB-55F0C183B15D}" dt="2025-05-07T22:51:37.536" v="505" actId="47"/>
        <pc:sldMkLst>
          <pc:docMk/>
          <pc:sldMk cId="986692170" sldId="285"/>
        </pc:sldMkLst>
      </pc:sldChg>
      <pc:sldChg chg="add del">
        <pc:chgData name="Leanne Manning" userId="730c7ce9-f6b4-453e-88a2-34d7f1a5ff9e" providerId="ADAL" clId="{1ACF3EB0-E21B-44EC-9BBB-55F0C183B15D}" dt="2025-05-07T22:51:37.536" v="505" actId="47"/>
        <pc:sldMkLst>
          <pc:docMk/>
          <pc:sldMk cId="4248015998" sldId="286"/>
        </pc:sldMkLst>
      </pc:sldChg>
      <pc:sldChg chg="add del">
        <pc:chgData name="Leanne Manning" userId="730c7ce9-f6b4-453e-88a2-34d7f1a5ff9e" providerId="ADAL" clId="{1ACF3EB0-E21B-44EC-9BBB-55F0C183B15D}" dt="2025-05-07T22:51:37.536" v="505" actId="47"/>
        <pc:sldMkLst>
          <pc:docMk/>
          <pc:sldMk cId="3721319657" sldId="287"/>
        </pc:sldMkLst>
      </pc:sldChg>
      <pc:sldChg chg="add del">
        <pc:chgData name="Leanne Manning" userId="730c7ce9-f6b4-453e-88a2-34d7f1a5ff9e" providerId="ADAL" clId="{1ACF3EB0-E21B-44EC-9BBB-55F0C183B15D}" dt="2025-05-07T22:51:37.536" v="505" actId="47"/>
        <pc:sldMkLst>
          <pc:docMk/>
          <pc:sldMk cId="1066692025" sldId="288"/>
        </pc:sldMkLst>
      </pc:sldChg>
      <pc:sldChg chg="add del">
        <pc:chgData name="Leanne Manning" userId="730c7ce9-f6b4-453e-88a2-34d7f1a5ff9e" providerId="ADAL" clId="{1ACF3EB0-E21B-44EC-9BBB-55F0C183B15D}" dt="2025-05-07T22:51:37.536" v="505" actId="47"/>
        <pc:sldMkLst>
          <pc:docMk/>
          <pc:sldMk cId="2597241124" sldId="289"/>
        </pc:sldMkLst>
      </pc:sldChg>
      <pc:sldChg chg="add del">
        <pc:chgData name="Leanne Manning" userId="730c7ce9-f6b4-453e-88a2-34d7f1a5ff9e" providerId="ADAL" clId="{1ACF3EB0-E21B-44EC-9BBB-55F0C183B15D}" dt="2025-05-07T22:51:37.536" v="505" actId="47"/>
        <pc:sldMkLst>
          <pc:docMk/>
          <pc:sldMk cId="4085638975" sldId="290"/>
        </pc:sldMkLst>
      </pc:sldChg>
      <pc:sldChg chg="add del">
        <pc:chgData name="Leanne Manning" userId="730c7ce9-f6b4-453e-88a2-34d7f1a5ff9e" providerId="ADAL" clId="{1ACF3EB0-E21B-44EC-9BBB-55F0C183B15D}" dt="2025-05-07T22:51:37.536" v="505" actId="47"/>
        <pc:sldMkLst>
          <pc:docMk/>
          <pc:sldMk cId="3062451347" sldId="291"/>
        </pc:sldMkLst>
      </pc:sldChg>
      <pc:sldChg chg="add del">
        <pc:chgData name="Leanne Manning" userId="730c7ce9-f6b4-453e-88a2-34d7f1a5ff9e" providerId="ADAL" clId="{1ACF3EB0-E21B-44EC-9BBB-55F0C183B15D}" dt="2025-05-07T22:51:37.536" v="505" actId="47"/>
        <pc:sldMkLst>
          <pc:docMk/>
          <pc:sldMk cId="1726625720" sldId="292"/>
        </pc:sldMkLst>
      </pc:sldChg>
      <pc:sldChg chg="modSp add mod">
        <pc:chgData name="Leanne Manning" userId="730c7ce9-f6b4-453e-88a2-34d7f1a5ff9e" providerId="ADAL" clId="{1ACF3EB0-E21B-44EC-9BBB-55F0C183B15D}" dt="2025-05-07T08:39:56.243" v="262" actId="1076"/>
        <pc:sldMkLst>
          <pc:docMk/>
          <pc:sldMk cId="1195155358" sldId="293"/>
        </pc:sldMkLst>
        <pc:spChg chg="mod">
          <ac:chgData name="Leanne Manning" userId="730c7ce9-f6b4-453e-88a2-34d7f1a5ff9e" providerId="ADAL" clId="{1ACF3EB0-E21B-44EC-9BBB-55F0C183B15D}" dt="2025-05-06T00:07:03.988" v="29" actId="1036"/>
          <ac:spMkLst>
            <pc:docMk/>
            <pc:sldMk cId="1195155358" sldId="293"/>
            <ac:spMk id="2" creationId="{8173D357-4CE9-548C-5AA6-32C4AF7A8BBD}"/>
          </ac:spMkLst>
        </pc:spChg>
        <pc:spChg chg="mod">
          <ac:chgData name="Leanne Manning" userId="730c7ce9-f6b4-453e-88a2-34d7f1a5ff9e" providerId="ADAL" clId="{1ACF3EB0-E21B-44EC-9BBB-55F0C183B15D}" dt="2025-05-07T08:39:56.243" v="262" actId="1076"/>
          <ac:spMkLst>
            <pc:docMk/>
            <pc:sldMk cId="1195155358" sldId="293"/>
            <ac:spMk id="9" creationId="{A13F580C-F233-E134-AEF9-07D05AEDA8AB}"/>
          </ac:spMkLst>
        </pc:spChg>
      </pc:sldChg>
      <pc:sldChg chg="modSp add mod modNotes">
        <pc:chgData name="Leanne Manning" userId="730c7ce9-f6b4-453e-88a2-34d7f1a5ff9e" providerId="ADAL" clId="{1ACF3EB0-E21B-44EC-9BBB-55F0C183B15D}" dt="2025-05-07T23:18:11.342" v="701"/>
        <pc:sldMkLst>
          <pc:docMk/>
          <pc:sldMk cId="3982638330" sldId="294"/>
        </pc:sldMkLst>
        <pc:spChg chg="mod">
          <ac:chgData name="Leanne Manning" userId="730c7ce9-f6b4-453e-88a2-34d7f1a5ff9e" providerId="ADAL" clId="{1ACF3EB0-E21B-44EC-9BBB-55F0C183B15D}" dt="2025-05-07T08:40:05.680" v="263" actId="1076"/>
          <ac:spMkLst>
            <pc:docMk/>
            <pc:sldMk cId="3982638330" sldId="294"/>
            <ac:spMk id="2" creationId="{75332762-60D9-FB1F-D5E2-40A7704357C9}"/>
          </ac:spMkLst>
        </pc:spChg>
      </pc:sldChg>
      <pc:sldChg chg="add del">
        <pc:chgData name="Leanne Manning" userId="730c7ce9-f6b4-453e-88a2-34d7f1a5ff9e" providerId="ADAL" clId="{1ACF3EB0-E21B-44EC-9BBB-55F0C183B15D}" dt="2025-05-07T09:01:11.556" v="312" actId="47"/>
        <pc:sldMkLst>
          <pc:docMk/>
          <pc:sldMk cId="3657936335" sldId="295"/>
        </pc:sldMkLst>
      </pc:sldChg>
      <pc:sldChg chg="add del">
        <pc:chgData name="Leanne Manning" userId="730c7ce9-f6b4-453e-88a2-34d7f1a5ff9e" providerId="ADAL" clId="{1ACF3EB0-E21B-44EC-9BBB-55F0C183B15D}" dt="2025-05-07T09:01:13.878" v="313" actId="47"/>
        <pc:sldMkLst>
          <pc:docMk/>
          <pc:sldMk cId="355532893" sldId="296"/>
        </pc:sldMkLst>
      </pc:sldChg>
      <pc:sldChg chg="add del">
        <pc:chgData name="Leanne Manning" userId="730c7ce9-f6b4-453e-88a2-34d7f1a5ff9e" providerId="ADAL" clId="{1ACF3EB0-E21B-44EC-9BBB-55F0C183B15D}" dt="2025-05-07T09:01:17.450" v="314" actId="47"/>
        <pc:sldMkLst>
          <pc:docMk/>
          <pc:sldMk cId="3116149841" sldId="297"/>
        </pc:sldMkLst>
      </pc:sldChg>
      <pc:sldChg chg="add del">
        <pc:chgData name="Leanne Manning" userId="730c7ce9-f6b4-453e-88a2-34d7f1a5ff9e" providerId="ADAL" clId="{1ACF3EB0-E21B-44EC-9BBB-55F0C183B15D}" dt="2025-05-07T09:01:18.812" v="315" actId="47"/>
        <pc:sldMkLst>
          <pc:docMk/>
          <pc:sldMk cId="1276465103" sldId="298"/>
        </pc:sldMkLst>
      </pc:sldChg>
      <pc:sldChg chg="add ord">
        <pc:chgData name="Leanne Manning" userId="730c7ce9-f6b4-453e-88a2-34d7f1a5ff9e" providerId="ADAL" clId="{1ACF3EB0-E21B-44EC-9BBB-55F0C183B15D}" dt="2025-05-07T09:01:42.436" v="317"/>
        <pc:sldMkLst>
          <pc:docMk/>
          <pc:sldMk cId="1687491444" sldId="299"/>
        </pc:sldMkLst>
      </pc:sldChg>
      <pc:sldChg chg="modSp add mod">
        <pc:chgData name="Leanne Manning" userId="730c7ce9-f6b4-453e-88a2-34d7f1a5ff9e" providerId="ADAL" clId="{1ACF3EB0-E21B-44EC-9BBB-55F0C183B15D}" dt="2025-05-08T03:06:32.334" v="1139" actId="20577"/>
        <pc:sldMkLst>
          <pc:docMk/>
          <pc:sldMk cId="2351433479" sldId="300"/>
        </pc:sldMkLst>
        <pc:spChg chg="mod">
          <ac:chgData name="Leanne Manning" userId="730c7ce9-f6b4-453e-88a2-34d7f1a5ff9e" providerId="ADAL" clId="{1ACF3EB0-E21B-44EC-9BBB-55F0C183B15D}" dt="2025-05-08T03:06:32.334" v="1139" actId="20577"/>
          <ac:spMkLst>
            <pc:docMk/>
            <pc:sldMk cId="2351433479" sldId="300"/>
            <ac:spMk id="2" creationId="{00000000-0000-0000-0000-000000000000}"/>
          </ac:spMkLst>
        </pc:spChg>
      </pc:sldChg>
      <pc:sldChg chg="modSp add mod">
        <pc:chgData name="Leanne Manning" userId="730c7ce9-f6b4-453e-88a2-34d7f1a5ff9e" providerId="ADAL" clId="{1ACF3EB0-E21B-44EC-9BBB-55F0C183B15D}" dt="2025-05-08T03:06:37.738" v="1146" actId="20577"/>
        <pc:sldMkLst>
          <pc:docMk/>
          <pc:sldMk cId="1940304490" sldId="301"/>
        </pc:sldMkLst>
        <pc:spChg chg="mod">
          <ac:chgData name="Leanne Manning" userId="730c7ce9-f6b4-453e-88a2-34d7f1a5ff9e" providerId="ADAL" clId="{1ACF3EB0-E21B-44EC-9BBB-55F0C183B15D}" dt="2025-05-08T03:06:37.738" v="1146" actId="20577"/>
          <ac:spMkLst>
            <pc:docMk/>
            <pc:sldMk cId="1940304490" sldId="301"/>
            <ac:spMk id="2" creationId="{2C4897E6-D9BF-624B-965D-F62AC9C7A726}"/>
          </ac:spMkLst>
        </pc:spChg>
      </pc:sldChg>
      <pc:sldChg chg="modSp add mod ord">
        <pc:chgData name="Leanne Manning" userId="730c7ce9-f6b4-453e-88a2-34d7f1a5ff9e" providerId="ADAL" clId="{1ACF3EB0-E21B-44EC-9BBB-55F0C183B15D}" dt="2025-05-08T03:06:24.048" v="1135" actId="20577"/>
        <pc:sldMkLst>
          <pc:docMk/>
          <pc:sldMk cId="658902598" sldId="302"/>
        </pc:sldMkLst>
        <pc:spChg chg="mod">
          <ac:chgData name="Leanne Manning" userId="730c7ce9-f6b4-453e-88a2-34d7f1a5ff9e" providerId="ADAL" clId="{1ACF3EB0-E21B-44EC-9BBB-55F0C183B15D}" dt="2025-05-08T03:06:24.048" v="1135" actId="20577"/>
          <ac:spMkLst>
            <pc:docMk/>
            <pc:sldMk cId="658902598" sldId="302"/>
            <ac:spMk id="2" creationId="{A26899D5-92EF-429E-3DBF-66F2C895AAA1}"/>
          </ac:spMkLst>
        </pc:spChg>
      </pc:sldChg>
      <pc:sldChg chg="modSp add mod ord">
        <pc:chgData name="Leanne Manning" userId="730c7ce9-f6b4-453e-88a2-34d7f1a5ff9e" providerId="ADAL" clId="{1ACF3EB0-E21B-44EC-9BBB-55F0C183B15D}" dt="2025-05-06T00:14:42.049" v="110" actId="1035"/>
        <pc:sldMkLst>
          <pc:docMk/>
          <pc:sldMk cId="489774152" sldId="303"/>
        </pc:sldMkLst>
        <pc:spChg chg="mod">
          <ac:chgData name="Leanne Manning" userId="730c7ce9-f6b4-453e-88a2-34d7f1a5ff9e" providerId="ADAL" clId="{1ACF3EB0-E21B-44EC-9BBB-55F0C183B15D}" dt="2025-05-06T00:14:42.049" v="110" actId="1035"/>
          <ac:spMkLst>
            <pc:docMk/>
            <pc:sldMk cId="489774152" sldId="303"/>
            <ac:spMk id="8" creationId="{00000000-0000-0000-0000-000000000000}"/>
          </ac:spMkLst>
        </pc:spChg>
        <pc:picChg chg="mod">
          <ac:chgData name="Leanne Manning" userId="730c7ce9-f6b4-453e-88a2-34d7f1a5ff9e" providerId="ADAL" clId="{1ACF3EB0-E21B-44EC-9BBB-55F0C183B15D}" dt="2025-05-06T00:14:36.576" v="108" actId="1038"/>
          <ac:picMkLst>
            <pc:docMk/>
            <pc:sldMk cId="489774152" sldId="303"/>
            <ac:picMk id="18" creationId="{00000000-0000-0000-0000-000000000000}"/>
          </ac:picMkLst>
        </pc:picChg>
      </pc:sldChg>
      <pc:sldChg chg="add ord">
        <pc:chgData name="Leanne Manning" userId="730c7ce9-f6b4-453e-88a2-34d7f1a5ff9e" providerId="ADAL" clId="{1ACF3EB0-E21B-44EC-9BBB-55F0C183B15D}" dt="2025-05-06T00:15:18.274" v="115"/>
        <pc:sldMkLst>
          <pc:docMk/>
          <pc:sldMk cId="250397692" sldId="304"/>
        </pc:sldMkLst>
      </pc:sldChg>
      <pc:sldChg chg="new del">
        <pc:chgData name="Leanne Manning" userId="730c7ce9-f6b4-453e-88a2-34d7f1a5ff9e" providerId="ADAL" clId="{1ACF3EB0-E21B-44EC-9BBB-55F0C183B15D}" dt="2025-05-06T00:15:06.031" v="112" actId="680"/>
        <pc:sldMkLst>
          <pc:docMk/>
          <pc:sldMk cId="2666410685" sldId="304"/>
        </pc:sldMkLst>
      </pc:sldChg>
      <pc:sldChg chg="addSp modSp new mod ord">
        <pc:chgData name="Leanne Manning" userId="730c7ce9-f6b4-453e-88a2-34d7f1a5ff9e" providerId="ADAL" clId="{1ACF3EB0-E21B-44EC-9BBB-55F0C183B15D}" dt="2025-05-08T03:13:46.218" v="1150" actId="20577"/>
        <pc:sldMkLst>
          <pc:docMk/>
          <pc:sldMk cId="718869911" sldId="305"/>
        </pc:sldMkLst>
        <pc:spChg chg="mod">
          <ac:chgData name="Leanne Manning" userId="730c7ce9-f6b4-453e-88a2-34d7f1a5ff9e" providerId="ADAL" clId="{1ACF3EB0-E21B-44EC-9BBB-55F0C183B15D}" dt="2025-05-08T03:13:46.218" v="1150" actId="20577"/>
          <ac:spMkLst>
            <pc:docMk/>
            <pc:sldMk cId="718869911" sldId="305"/>
            <ac:spMk id="2" creationId="{B6D1FEF7-9BC3-59C9-298A-C7A4989DBCB8}"/>
          </ac:spMkLst>
        </pc:spChg>
        <pc:spChg chg="mod">
          <ac:chgData name="Leanne Manning" userId="730c7ce9-f6b4-453e-88a2-34d7f1a5ff9e" providerId="ADAL" clId="{1ACF3EB0-E21B-44EC-9BBB-55F0C183B15D}" dt="2025-05-08T00:25:24.333" v="908" actId="1076"/>
          <ac:spMkLst>
            <pc:docMk/>
            <pc:sldMk cId="718869911" sldId="305"/>
            <ac:spMk id="3" creationId="{D3418246-0DC1-6E07-000C-746175CCE676}"/>
          </ac:spMkLst>
        </pc:spChg>
        <pc:picChg chg="add mod">
          <ac:chgData name="Leanne Manning" userId="730c7ce9-f6b4-453e-88a2-34d7f1a5ff9e" providerId="ADAL" clId="{1ACF3EB0-E21B-44EC-9BBB-55F0C183B15D}" dt="2025-05-07T08:37:48.666" v="232" actId="1076"/>
          <ac:picMkLst>
            <pc:docMk/>
            <pc:sldMk cId="718869911" sldId="305"/>
            <ac:picMk id="6" creationId="{375F7976-2E14-9C6C-A066-B0BC8FC6BC88}"/>
          </ac:picMkLst>
        </pc:picChg>
      </pc:sldChg>
      <pc:sldChg chg="addSp delSp modSp add mod">
        <pc:chgData name="Leanne Manning" userId="730c7ce9-f6b4-453e-88a2-34d7f1a5ff9e" providerId="ADAL" clId="{1ACF3EB0-E21B-44EC-9BBB-55F0C183B15D}" dt="2025-05-08T03:17:11.209" v="1151" actId="2710"/>
        <pc:sldMkLst>
          <pc:docMk/>
          <pc:sldMk cId="3089672284" sldId="306"/>
        </pc:sldMkLst>
        <pc:spChg chg="mod">
          <ac:chgData name="Leanne Manning" userId="730c7ce9-f6b4-453e-88a2-34d7f1a5ff9e" providerId="ADAL" clId="{1ACF3EB0-E21B-44EC-9BBB-55F0C183B15D}" dt="2025-05-07T23:37:22.760" v="824" actId="20577"/>
          <ac:spMkLst>
            <pc:docMk/>
            <pc:sldMk cId="3089672284" sldId="306"/>
            <ac:spMk id="2" creationId="{9F7651DB-B247-7DDE-8BBC-3601618F2BF3}"/>
          </ac:spMkLst>
        </pc:spChg>
        <pc:spChg chg="add mod">
          <ac:chgData name="Leanne Manning" userId="730c7ce9-f6b4-453e-88a2-34d7f1a5ff9e" providerId="ADAL" clId="{1ACF3EB0-E21B-44EC-9BBB-55F0C183B15D}" dt="2025-05-08T03:17:11.209" v="1151" actId="2710"/>
          <ac:spMkLst>
            <pc:docMk/>
            <pc:sldMk cId="3089672284" sldId="306"/>
            <ac:spMk id="7" creationId="{C75E4FA5-0DF9-5329-0093-99857760A996}"/>
          </ac:spMkLst>
        </pc:spChg>
        <pc:picChg chg="add mod">
          <ac:chgData name="Leanne Manning" userId="730c7ce9-f6b4-453e-88a2-34d7f1a5ff9e" providerId="ADAL" clId="{1ACF3EB0-E21B-44EC-9BBB-55F0C183B15D}" dt="2025-05-07T23:39:16.309" v="829" actId="1076"/>
          <ac:picMkLst>
            <pc:docMk/>
            <pc:sldMk cId="3089672284" sldId="306"/>
            <ac:picMk id="5" creationId="{5F269A47-4304-6690-CCF4-0D655CAEED08}"/>
          </ac:picMkLst>
        </pc:picChg>
      </pc:sldChg>
      <pc:sldChg chg="addSp modSp add mod ord">
        <pc:chgData name="Leanne Manning" userId="730c7ce9-f6b4-453e-88a2-34d7f1a5ff9e" providerId="ADAL" clId="{1ACF3EB0-E21B-44EC-9BBB-55F0C183B15D}" dt="2025-05-08T02:55:10.092" v="975" actId="1076"/>
        <pc:sldMkLst>
          <pc:docMk/>
          <pc:sldMk cId="3383824870" sldId="307"/>
        </pc:sldMkLst>
        <pc:spChg chg="mod">
          <ac:chgData name="Leanne Manning" userId="730c7ce9-f6b4-453e-88a2-34d7f1a5ff9e" providerId="ADAL" clId="{1ACF3EB0-E21B-44EC-9BBB-55F0C183B15D}" dt="2025-05-08T02:55:10.092" v="975" actId="1076"/>
          <ac:spMkLst>
            <pc:docMk/>
            <pc:sldMk cId="3383824870" sldId="307"/>
            <ac:spMk id="2" creationId="{00000000-0000-0000-0000-000000000000}"/>
          </ac:spMkLst>
        </pc:spChg>
        <pc:spChg chg="add mod">
          <ac:chgData name="Leanne Manning" userId="730c7ce9-f6b4-453e-88a2-34d7f1a5ff9e" providerId="ADAL" clId="{1ACF3EB0-E21B-44EC-9BBB-55F0C183B15D}" dt="2025-05-07T23:13:45.415" v="670"/>
          <ac:spMkLst>
            <pc:docMk/>
            <pc:sldMk cId="3383824870" sldId="307"/>
            <ac:spMk id="4" creationId="{7A728A1C-BDCC-FAA3-E0EE-B20BD10C0AE1}"/>
          </ac:spMkLst>
        </pc:spChg>
        <pc:picChg chg="mod">
          <ac:chgData name="Leanne Manning" userId="730c7ce9-f6b4-453e-88a2-34d7f1a5ff9e" providerId="ADAL" clId="{1ACF3EB0-E21B-44EC-9BBB-55F0C183B15D}" dt="2025-05-07T23:13:35.869" v="669" actId="1076"/>
          <ac:picMkLst>
            <pc:docMk/>
            <pc:sldMk cId="3383824870" sldId="307"/>
            <ac:picMk id="6" creationId="{FE2A46CA-A275-FBF3-AFFD-D1C1B3A655F1}"/>
          </ac:picMkLst>
        </pc:picChg>
      </pc:sldChg>
      <pc:sldChg chg="addSp modSp add">
        <pc:chgData name="Leanne Manning" userId="730c7ce9-f6b4-453e-88a2-34d7f1a5ff9e" providerId="ADAL" clId="{1ACF3EB0-E21B-44EC-9BBB-55F0C183B15D}" dt="2025-05-07T23:13:54.368" v="671"/>
        <pc:sldMkLst>
          <pc:docMk/>
          <pc:sldMk cId="1571956408" sldId="308"/>
        </pc:sldMkLst>
        <pc:spChg chg="add mod">
          <ac:chgData name="Leanne Manning" userId="730c7ce9-f6b4-453e-88a2-34d7f1a5ff9e" providerId="ADAL" clId="{1ACF3EB0-E21B-44EC-9BBB-55F0C183B15D}" dt="2025-05-07T23:13:54.368" v="671"/>
          <ac:spMkLst>
            <pc:docMk/>
            <pc:sldMk cId="1571956408" sldId="308"/>
            <ac:spMk id="3" creationId="{CEBD5874-E1B4-100B-9B27-1F72EBD15440}"/>
          </ac:spMkLst>
        </pc:spChg>
      </pc:sldChg>
      <pc:sldChg chg="addSp modSp add ord">
        <pc:chgData name="Leanne Manning" userId="730c7ce9-f6b4-453e-88a2-34d7f1a5ff9e" providerId="ADAL" clId="{1ACF3EB0-E21B-44EC-9BBB-55F0C183B15D}" dt="2025-05-08T02:59:36.303" v="1029"/>
        <pc:sldMkLst>
          <pc:docMk/>
          <pc:sldMk cId="3788188630" sldId="309"/>
        </pc:sldMkLst>
        <pc:spChg chg="add mod">
          <ac:chgData name="Leanne Manning" userId="730c7ce9-f6b4-453e-88a2-34d7f1a5ff9e" providerId="ADAL" clId="{1ACF3EB0-E21B-44EC-9BBB-55F0C183B15D}" dt="2025-05-07T23:13:59.112" v="672"/>
          <ac:spMkLst>
            <pc:docMk/>
            <pc:sldMk cId="3788188630" sldId="309"/>
            <ac:spMk id="2" creationId="{72AFF19F-8DA9-9857-C6B2-EB98D55C807A}"/>
          </ac:spMkLst>
        </pc:spChg>
      </pc:sldChg>
      <pc:sldChg chg="add del ord">
        <pc:chgData name="Leanne Manning" userId="730c7ce9-f6b4-453e-88a2-34d7f1a5ff9e" providerId="ADAL" clId="{1ACF3EB0-E21B-44EC-9BBB-55F0C183B15D}" dt="2025-05-07T08:47:31.103" v="284" actId="47"/>
        <pc:sldMkLst>
          <pc:docMk/>
          <pc:sldMk cId="681161866" sldId="310"/>
        </pc:sldMkLst>
      </pc:sldChg>
      <pc:sldChg chg="addSp modSp add ord">
        <pc:chgData name="Leanne Manning" userId="730c7ce9-f6b4-453e-88a2-34d7f1a5ff9e" providerId="ADAL" clId="{1ACF3EB0-E21B-44EC-9BBB-55F0C183B15D}" dt="2025-05-07T23:14:16.414" v="677"/>
        <pc:sldMkLst>
          <pc:docMk/>
          <pc:sldMk cId="1562577542" sldId="311"/>
        </pc:sldMkLst>
        <pc:spChg chg="add mod">
          <ac:chgData name="Leanne Manning" userId="730c7ce9-f6b4-453e-88a2-34d7f1a5ff9e" providerId="ADAL" clId="{1ACF3EB0-E21B-44EC-9BBB-55F0C183B15D}" dt="2025-05-07T23:14:16.414" v="677"/>
          <ac:spMkLst>
            <pc:docMk/>
            <pc:sldMk cId="1562577542" sldId="311"/>
            <ac:spMk id="3" creationId="{D255BE56-508C-53D0-EBB5-AF0D0328D9C9}"/>
          </ac:spMkLst>
        </pc:spChg>
      </pc:sldChg>
      <pc:sldChg chg="add del ord">
        <pc:chgData name="Leanne Manning" userId="730c7ce9-f6b4-453e-88a2-34d7f1a5ff9e" providerId="ADAL" clId="{1ACF3EB0-E21B-44EC-9BBB-55F0C183B15D}" dt="2025-05-07T08:47:33.656" v="285" actId="47"/>
        <pc:sldMkLst>
          <pc:docMk/>
          <pc:sldMk cId="1742873952" sldId="312"/>
        </pc:sldMkLst>
      </pc:sldChg>
      <pc:sldChg chg="addSp modSp add">
        <pc:chgData name="Leanne Manning" userId="730c7ce9-f6b4-453e-88a2-34d7f1a5ff9e" providerId="ADAL" clId="{1ACF3EB0-E21B-44EC-9BBB-55F0C183B15D}" dt="2025-05-07T23:14:13.669" v="676"/>
        <pc:sldMkLst>
          <pc:docMk/>
          <pc:sldMk cId="4142337763" sldId="312"/>
        </pc:sldMkLst>
        <pc:spChg chg="add mod">
          <ac:chgData name="Leanne Manning" userId="730c7ce9-f6b4-453e-88a2-34d7f1a5ff9e" providerId="ADAL" clId="{1ACF3EB0-E21B-44EC-9BBB-55F0C183B15D}" dt="2025-05-07T23:14:13.669" v="676"/>
          <ac:spMkLst>
            <pc:docMk/>
            <pc:sldMk cId="4142337763" sldId="312"/>
            <ac:spMk id="2" creationId="{55600469-D205-673C-7676-6178F85C4A74}"/>
          </ac:spMkLst>
        </pc:spChg>
      </pc:sldChg>
      <pc:sldChg chg="addSp modSp add ord">
        <pc:chgData name="Leanne Manning" userId="730c7ce9-f6b4-453e-88a2-34d7f1a5ff9e" providerId="ADAL" clId="{1ACF3EB0-E21B-44EC-9BBB-55F0C183B15D}" dt="2025-05-07T23:17:29.497" v="699"/>
        <pc:sldMkLst>
          <pc:docMk/>
          <pc:sldMk cId="1420569416" sldId="313"/>
        </pc:sldMkLst>
        <pc:spChg chg="add mod">
          <ac:chgData name="Leanne Manning" userId="730c7ce9-f6b4-453e-88a2-34d7f1a5ff9e" providerId="ADAL" clId="{1ACF3EB0-E21B-44EC-9BBB-55F0C183B15D}" dt="2025-05-07T23:17:29.497" v="699"/>
          <ac:spMkLst>
            <pc:docMk/>
            <pc:sldMk cId="1420569416" sldId="313"/>
            <ac:spMk id="2" creationId="{EB6A54D9-F516-C8DB-3C26-BC54E946D795}"/>
          </ac:spMkLst>
        </pc:spChg>
      </pc:sldChg>
      <pc:sldChg chg="delSp add del mod">
        <pc:chgData name="Leanne Manning" userId="730c7ce9-f6b4-453e-88a2-34d7f1a5ff9e" providerId="ADAL" clId="{1ACF3EB0-E21B-44EC-9BBB-55F0C183B15D}" dt="2025-05-07T08:58:09.377" v="293" actId="47"/>
        <pc:sldMkLst>
          <pc:docMk/>
          <pc:sldMk cId="3182185249" sldId="313"/>
        </pc:sldMkLst>
      </pc:sldChg>
      <pc:sldChg chg="addSp modSp add mod ord">
        <pc:chgData name="Leanne Manning" userId="730c7ce9-f6b4-453e-88a2-34d7f1a5ff9e" providerId="ADAL" clId="{1ACF3EB0-E21B-44EC-9BBB-55F0C183B15D}" dt="2025-05-07T23:17:39.678" v="700"/>
        <pc:sldMkLst>
          <pc:docMk/>
          <pc:sldMk cId="852070620" sldId="314"/>
        </pc:sldMkLst>
        <pc:spChg chg="add mod">
          <ac:chgData name="Leanne Manning" userId="730c7ce9-f6b4-453e-88a2-34d7f1a5ff9e" providerId="ADAL" clId="{1ACF3EB0-E21B-44EC-9BBB-55F0C183B15D}" dt="2025-05-07T23:17:39.678" v="700"/>
          <ac:spMkLst>
            <pc:docMk/>
            <pc:sldMk cId="852070620" sldId="314"/>
            <ac:spMk id="3" creationId="{4BD4B994-D10E-C20D-4B45-763D71986A35}"/>
          </ac:spMkLst>
        </pc:spChg>
        <pc:picChg chg="mod ord">
          <ac:chgData name="Leanne Manning" userId="730c7ce9-f6b4-453e-88a2-34d7f1a5ff9e" providerId="ADAL" clId="{1ACF3EB0-E21B-44EC-9BBB-55F0C183B15D}" dt="2025-05-07T23:12:45.837" v="665" actId="1076"/>
          <ac:picMkLst>
            <pc:docMk/>
            <pc:sldMk cId="852070620" sldId="314"/>
            <ac:picMk id="5" creationId="{6FE79480-4B23-DE2D-1197-987D8BDE0E61}"/>
          </ac:picMkLst>
        </pc:picChg>
      </pc:sldChg>
      <pc:sldChg chg="addSp modSp add ord">
        <pc:chgData name="Leanne Manning" userId="730c7ce9-f6b4-453e-88a2-34d7f1a5ff9e" providerId="ADAL" clId="{1ACF3EB0-E21B-44EC-9BBB-55F0C183B15D}" dt="2025-05-07T23:14:10.545" v="675"/>
        <pc:sldMkLst>
          <pc:docMk/>
          <pc:sldMk cId="3018205957" sldId="315"/>
        </pc:sldMkLst>
        <pc:spChg chg="add mod">
          <ac:chgData name="Leanne Manning" userId="730c7ce9-f6b4-453e-88a2-34d7f1a5ff9e" providerId="ADAL" clId="{1ACF3EB0-E21B-44EC-9BBB-55F0C183B15D}" dt="2025-05-07T23:14:10.545" v="675"/>
          <ac:spMkLst>
            <pc:docMk/>
            <pc:sldMk cId="3018205957" sldId="315"/>
            <ac:spMk id="2" creationId="{0410B107-C865-30B1-5E2F-F322ACE3EA3E}"/>
          </ac:spMkLst>
        </pc:spChg>
      </pc:sldChg>
      <pc:sldChg chg="addSp modSp add">
        <pc:chgData name="Leanne Manning" userId="730c7ce9-f6b4-453e-88a2-34d7f1a5ff9e" providerId="ADAL" clId="{1ACF3EB0-E21B-44EC-9BBB-55F0C183B15D}" dt="2025-05-07T23:14:02.934" v="673"/>
        <pc:sldMkLst>
          <pc:docMk/>
          <pc:sldMk cId="498375830" sldId="316"/>
        </pc:sldMkLst>
        <pc:spChg chg="add mod">
          <ac:chgData name="Leanne Manning" userId="730c7ce9-f6b4-453e-88a2-34d7f1a5ff9e" providerId="ADAL" clId="{1ACF3EB0-E21B-44EC-9BBB-55F0C183B15D}" dt="2025-05-07T23:14:02.934" v="673"/>
          <ac:spMkLst>
            <pc:docMk/>
            <pc:sldMk cId="498375830" sldId="316"/>
            <ac:spMk id="2" creationId="{BEBA9B29-2586-B96C-8E09-1F2FB9F5DCC8}"/>
          </ac:spMkLst>
        </pc:spChg>
      </pc:sldChg>
      <pc:sldChg chg="addSp modSp add">
        <pc:chgData name="Leanne Manning" userId="730c7ce9-f6b4-453e-88a2-34d7f1a5ff9e" providerId="ADAL" clId="{1ACF3EB0-E21B-44EC-9BBB-55F0C183B15D}" dt="2025-05-07T23:14:07.210" v="674"/>
        <pc:sldMkLst>
          <pc:docMk/>
          <pc:sldMk cId="3080824867" sldId="317"/>
        </pc:sldMkLst>
        <pc:spChg chg="add mod">
          <ac:chgData name="Leanne Manning" userId="730c7ce9-f6b4-453e-88a2-34d7f1a5ff9e" providerId="ADAL" clId="{1ACF3EB0-E21B-44EC-9BBB-55F0C183B15D}" dt="2025-05-07T23:14:07.210" v="674"/>
          <ac:spMkLst>
            <pc:docMk/>
            <pc:sldMk cId="3080824867" sldId="317"/>
            <ac:spMk id="2" creationId="{9B61ECEA-9A6E-9A8C-9A82-EE4A1014C937}"/>
          </ac:spMkLst>
        </pc:spChg>
      </pc:sldChg>
      <pc:sldChg chg="addSp modSp add">
        <pc:chgData name="Leanne Manning" userId="730c7ce9-f6b4-453e-88a2-34d7f1a5ff9e" providerId="ADAL" clId="{1ACF3EB0-E21B-44EC-9BBB-55F0C183B15D}" dt="2025-05-07T23:15:43.031" v="679"/>
        <pc:sldMkLst>
          <pc:docMk/>
          <pc:sldMk cId="1084171712" sldId="318"/>
        </pc:sldMkLst>
        <pc:spChg chg="add mod">
          <ac:chgData name="Leanne Manning" userId="730c7ce9-f6b4-453e-88a2-34d7f1a5ff9e" providerId="ADAL" clId="{1ACF3EB0-E21B-44EC-9BBB-55F0C183B15D}" dt="2025-05-07T23:15:43.031" v="679"/>
          <ac:spMkLst>
            <pc:docMk/>
            <pc:sldMk cId="1084171712" sldId="318"/>
            <ac:spMk id="9" creationId="{90FFA24D-981C-5143-6678-AE4275013EE8}"/>
          </ac:spMkLst>
        </pc:spChg>
      </pc:sldChg>
      <pc:sldChg chg="addSp modSp add mod ord">
        <pc:chgData name="Leanne Manning" userId="730c7ce9-f6b4-453e-88a2-34d7f1a5ff9e" providerId="ADAL" clId="{1ACF3EB0-E21B-44EC-9BBB-55F0C183B15D}" dt="2025-05-08T01:10:19.910" v="961" actId="3626"/>
        <pc:sldMkLst>
          <pc:docMk/>
          <pc:sldMk cId="1930012174" sldId="319"/>
        </pc:sldMkLst>
        <pc:spChg chg="mod">
          <ac:chgData name="Leanne Manning" userId="730c7ce9-f6b4-453e-88a2-34d7f1a5ff9e" providerId="ADAL" clId="{1ACF3EB0-E21B-44EC-9BBB-55F0C183B15D}" dt="2025-05-08T01:10:19.910" v="961" actId="3626"/>
          <ac:spMkLst>
            <pc:docMk/>
            <pc:sldMk cId="1930012174" sldId="319"/>
            <ac:spMk id="2" creationId="{BFEA5821-6F46-A267-5FC2-E2C7B7BB37D3}"/>
          </ac:spMkLst>
        </pc:spChg>
        <pc:spChg chg="mod">
          <ac:chgData name="Leanne Manning" userId="730c7ce9-f6b4-453e-88a2-34d7f1a5ff9e" providerId="ADAL" clId="{1ACF3EB0-E21B-44EC-9BBB-55F0C183B15D}" dt="2025-05-08T00:26:05.187" v="912" actId="20577"/>
          <ac:spMkLst>
            <pc:docMk/>
            <pc:sldMk cId="1930012174" sldId="319"/>
            <ac:spMk id="7" creationId="{BE3E1DB5-891B-A463-ED37-539C88D9348C}"/>
          </ac:spMkLst>
        </pc:spChg>
        <pc:picChg chg="add mod">
          <ac:chgData name="Leanne Manning" userId="730c7ce9-f6b4-453e-88a2-34d7f1a5ff9e" providerId="ADAL" clId="{1ACF3EB0-E21B-44EC-9BBB-55F0C183B15D}" dt="2025-05-07T09:19:03.681" v="361" actId="14100"/>
          <ac:picMkLst>
            <pc:docMk/>
            <pc:sldMk cId="1930012174" sldId="319"/>
            <ac:picMk id="5" creationId="{4CDF43B1-EF47-4A0C-E2C0-29E5F4D7408E}"/>
          </ac:picMkLst>
        </pc:picChg>
      </pc:sldChg>
      <pc:sldChg chg="addSp delSp modSp new mod">
        <pc:chgData name="Leanne Manning" userId="730c7ce9-f6b4-453e-88a2-34d7f1a5ff9e" providerId="ADAL" clId="{1ACF3EB0-E21B-44EC-9BBB-55F0C183B15D}" dt="2025-05-07T09:22:56.816" v="394" actId="1076"/>
        <pc:sldMkLst>
          <pc:docMk/>
          <pc:sldMk cId="3945577164" sldId="320"/>
        </pc:sldMkLst>
        <pc:picChg chg="add mod modCrop">
          <ac:chgData name="Leanne Manning" userId="730c7ce9-f6b4-453e-88a2-34d7f1a5ff9e" providerId="ADAL" clId="{1ACF3EB0-E21B-44EC-9BBB-55F0C183B15D}" dt="2025-05-07T09:22:56.816" v="394" actId="1076"/>
          <ac:picMkLst>
            <pc:docMk/>
            <pc:sldMk cId="3945577164" sldId="320"/>
            <ac:picMk id="6" creationId="{75F989E8-1B7C-CD6D-AD2E-B35007B67FCE}"/>
          </ac:picMkLst>
        </pc:picChg>
      </pc:sldChg>
      <pc:sldChg chg="addSp delSp modSp new mod">
        <pc:chgData name="Leanne Manning" userId="730c7ce9-f6b4-453e-88a2-34d7f1a5ff9e" providerId="ADAL" clId="{1ACF3EB0-E21B-44EC-9BBB-55F0C183B15D}" dt="2025-05-07T09:23:18.881" v="399" actId="732"/>
        <pc:sldMkLst>
          <pc:docMk/>
          <pc:sldMk cId="2162841252" sldId="321"/>
        </pc:sldMkLst>
        <pc:picChg chg="add mod modCrop">
          <ac:chgData name="Leanne Manning" userId="730c7ce9-f6b4-453e-88a2-34d7f1a5ff9e" providerId="ADAL" clId="{1ACF3EB0-E21B-44EC-9BBB-55F0C183B15D}" dt="2025-05-07T09:23:18.881" v="399" actId="732"/>
          <ac:picMkLst>
            <pc:docMk/>
            <pc:sldMk cId="2162841252" sldId="321"/>
            <ac:picMk id="6" creationId="{DBBC4808-23D0-C6D2-A9CA-2A8C6DF1AB17}"/>
          </ac:picMkLst>
        </pc:picChg>
      </pc:sldChg>
      <pc:sldChg chg="addSp delSp modSp new mod">
        <pc:chgData name="Leanne Manning" userId="730c7ce9-f6b4-453e-88a2-34d7f1a5ff9e" providerId="ADAL" clId="{1ACF3EB0-E21B-44EC-9BBB-55F0C183B15D}" dt="2025-05-07T09:25:34.875" v="450" actId="1035"/>
        <pc:sldMkLst>
          <pc:docMk/>
          <pc:sldMk cId="25673904" sldId="322"/>
        </pc:sldMkLst>
        <pc:spChg chg="add mod">
          <ac:chgData name="Leanne Manning" userId="730c7ce9-f6b4-453e-88a2-34d7f1a5ff9e" providerId="ADAL" clId="{1ACF3EB0-E21B-44EC-9BBB-55F0C183B15D}" dt="2025-05-07T09:25:34.875" v="450" actId="1035"/>
          <ac:spMkLst>
            <pc:docMk/>
            <pc:sldMk cId="25673904" sldId="322"/>
            <ac:spMk id="5" creationId="{EEFE18E4-90FC-2B9B-F635-72E75B9AA9DA}"/>
          </ac:spMkLst>
        </pc:spChg>
        <pc:picChg chg="add mod">
          <ac:chgData name="Leanne Manning" userId="730c7ce9-f6b4-453e-88a2-34d7f1a5ff9e" providerId="ADAL" clId="{1ACF3EB0-E21B-44EC-9BBB-55F0C183B15D}" dt="2025-05-07T09:25:30.146" v="448" actId="1076"/>
          <ac:picMkLst>
            <pc:docMk/>
            <pc:sldMk cId="25673904" sldId="322"/>
            <ac:picMk id="7" creationId="{0FF00590-4B08-0336-1401-9447DB4908D6}"/>
          </ac:picMkLst>
        </pc:picChg>
      </pc:sldChg>
      <pc:sldChg chg="addSp delSp modSp new mod">
        <pc:chgData name="Leanne Manning" userId="730c7ce9-f6b4-453e-88a2-34d7f1a5ff9e" providerId="ADAL" clId="{1ACF3EB0-E21B-44EC-9BBB-55F0C183B15D}" dt="2025-05-07T09:26:17.049" v="456" actId="14100"/>
        <pc:sldMkLst>
          <pc:docMk/>
          <pc:sldMk cId="649812541" sldId="323"/>
        </pc:sldMkLst>
        <pc:picChg chg="add mod">
          <ac:chgData name="Leanne Manning" userId="730c7ce9-f6b4-453e-88a2-34d7f1a5ff9e" providerId="ADAL" clId="{1ACF3EB0-E21B-44EC-9BBB-55F0C183B15D}" dt="2025-05-07T09:26:17.049" v="456" actId="14100"/>
          <ac:picMkLst>
            <pc:docMk/>
            <pc:sldMk cId="649812541" sldId="323"/>
            <ac:picMk id="6" creationId="{771645D6-28DB-F4EF-45F4-20FFA78E5374}"/>
          </ac:picMkLst>
        </pc:picChg>
      </pc:sldChg>
      <pc:sldChg chg="addSp modSp add mod modNotes">
        <pc:chgData name="Leanne Manning" userId="730c7ce9-f6b4-453e-88a2-34d7f1a5ff9e" providerId="ADAL" clId="{1ACF3EB0-E21B-44EC-9BBB-55F0C183B15D}" dt="2025-05-08T03:03:18.325" v="1053" actId="732"/>
        <pc:sldMkLst>
          <pc:docMk/>
          <pc:sldMk cId="986692170" sldId="324"/>
        </pc:sldMkLst>
        <pc:spChg chg="mod">
          <ac:chgData name="Leanne Manning" userId="730c7ce9-f6b4-453e-88a2-34d7f1a5ff9e" providerId="ADAL" clId="{1ACF3EB0-E21B-44EC-9BBB-55F0C183B15D}" dt="2025-05-08T03:03:03.903" v="1052" actId="20577"/>
          <ac:spMkLst>
            <pc:docMk/>
            <pc:sldMk cId="986692170" sldId="324"/>
            <ac:spMk id="2" creationId="{00000000-0000-0000-0000-000000000000}"/>
          </ac:spMkLst>
        </pc:spChg>
        <pc:spChg chg="add mod">
          <ac:chgData name="Leanne Manning" userId="730c7ce9-f6b4-453e-88a2-34d7f1a5ff9e" providerId="ADAL" clId="{1ACF3EB0-E21B-44EC-9BBB-55F0C183B15D}" dt="2025-05-07T23:16:12.233" v="681"/>
          <ac:spMkLst>
            <pc:docMk/>
            <pc:sldMk cId="986692170" sldId="324"/>
            <ac:spMk id="3" creationId="{0576E584-70CC-108D-7320-89D4223AB103}"/>
          </ac:spMkLst>
        </pc:spChg>
        <pc:picChg chg="mod modCrop">
          <ac:chgData name="Leanne Manning" userId="730c7ce9-f6b4-453e-88a2-34d7f1a5ff9e" providerId="ADAL" clId="{1ACF3EB0-E21B-44EC-9BBB-55F0C183B15D}" dt="2025-05-08T03:03:18.325" v="1053" actId="732"/>
          <ac:picMkLst>
            <pc:docMk/>
            <pc:sldMk cId="986692170" sldId="324"/>
            <ac:picMk id="4" creationId="{1B4B2595-97C2-78C1-8335-1F752A201AAF}"/>
          </ac:picMkLst>
        </pc:picChg>
      </pc:sldChg>
      <pc:sldChg chg="addSp modSp add mod">
        <pc:chgData name="Leanne Manning" userId="730c7ce9-f6b4-453e-88a2-34d7f1a5ff9e" providerId="ADAL" clId="{1ACF3EB0-E21B-44EC-9BBB-55F0C183B15D}" dt="2025-05-07T23:16:22.614" v="683" actId="1076"/>
        <pc:sldMkLst>
          <pc:docMk/>
          <pc:sldMk cId="4085638975" sldId="325"/>
        </pc:sldMkLst>
        <pc:spChg chg="add mod">
          <ac:chgData name="Leanne Manning" userId="730c7ce9-f6b4-453e-88a2-34d7f1a5ff9e" providerId="ADAL" clId="{1ACF3EB0-E21B-44EC-9BBB-55F0C183B15D}" dt="2025-05-07T23:16:22.614" v="683" actId="1076"/>
          <ac:spMkLst>
            <pc:docMk/>
            <pc:sldMk cId="4085638975" sldId="325"/>
            <ac:spMk id="3" creationId="{50950C83-0FC2-2970-5549-4735B7EA4CC9}"/>
          </ac:spMkLst>
        </pc:spChg>
      </pc:sldChg>
      <pc:sldChg chg="addSp modSp add mod">
        <pc:chgData name="Leanne Manning" userId="730c7ce9-f6b4-453e-88a2-34d7f1a5ff9e" providerId="ADAL" clId="{1ACF3EB0-E21B-44EC-9BBB-55F0C183B15D}" dt="2025-05-08T03:03:53.072" v="1054" actId="732"/>
        <pc:sldMkLst>
          <pc:docMk/>
          <pc:sldMk cId="3062451347" sldId="326"/>
        </pc:sldMkLst>
        <pc:spChg chg="add mod">
          <ac:chgData name="Leanne Manning" userId="730c7ce9-f6b4-453e-88a2-34d7f1a5ff9e" providerId="ADAL" clId="{1ACF3EB0-E21B-44EC-9BBB-55F0C183B15D}" dt="2025-05-07T23:16:28.696" v="684"/>
          <ac:spMkLst>
            <pc:docMk/>
            <pc:sldMk cId="3062451347" sldId="326"/>
            <ac:spMk id="3" creationId="{D8108F82-2305-A778-D9F7-19ADFF68539F}"/>
          </ac:spMkLst>
        </pc:spChg>
        <pc:picChg chg="mod modCrop">
          <ac:chgData name="Leanne Manning" userId="730c7ce9-f6b4-453e-88a2-34d7f1a5ff9e" providerId="ADAL" clId="{1ACF3EB0-E21B-44EC-9BBB-55F0C183B15D}" dt="2025-05-08T03:03:53.072" v="1054" actId="732"/>
          <ac:picMkLst>
            <pc:docMk/>
            <pc:sldMk cId="3062451347" sldId="326"/>
            <ac:picMk id="5" creationId="{7B66AAA7-B8AA-8F31-40BF-05E49BE49573}"/>
          </ac:picMkLst>
        </pc:picChg>
      </pc:sldChg>
      <pc:sldChg chg="addSp modSp add">
        <pc:chgData name="Leanne Manning" userId="730c7ce9-f6b4-453e-88a2-34d7f1a5ff9e" providerId="ADAL" clId="{1ACF3EB0-E21B-44EC-9BBB-55F0C183B15D}" dt="2025-05-07T23:16:35.708" v="686"/>
        <pc:sldMkLst>
          <pc:docMk/>
          <pc:sldMk cId="1726625720" sldId="327"/>
        </pc:sldMkLst>
        <pc:spChg chg="add mod">
          <ac:chgData name="Leanne Manning" userId="730c7ce9-f6b4-453e-88a2-34d7f1a5ff9e" providerId="ADAL" clId="{1ACF3EB0-E21B-44EC-9BBB-55F0C183B15D}" dt="2025-05-07T23:16:35.708" v="686"/>
          <ac:spMkLst>
            <pc:docMk/>
            <pc:sldMk cId="1726625720" sldId="327"/>
            <ac:spMk id="3" creationId="{C78FBCE3-7C2E-E1B0-1DB0-8D45BE78F9FB}"/>
          </ac:spMkLst>
        </pc:spChg>
      </pc:sldChg>
      <pc:sldChg chg="addSp modSp add ord modNotes">
        <pc:chgData name="Leanne Manning" userId="730c7ce9-f6b4-453e-88a2-34d7f1a5ff9e" providerId="ADAL" clId="{1ACF3EB0-E21B-44EC-9BBB-55F0C183B15D}" dt="2025-05-07T23:18:11.342" v="701"/>
        <pc:sldMkLst>
          <pc:docMk/>
          <pc:sldMk cId="4026320027" sldId="328"/>
        </pc:sldMkLst>
        <pc:spChg chg="add mod">
          <ac:chgData name="Leanne Manning" userId="730c7ce9-f6b4-453e-88a2-34d7f1a5ff9e" providerId="ADAL" clId="{1ACF3EB0-E21B-44EC-9BBB-55F0C183B15D}" dt="2025-05-07T23:16:32.177" v="685"/>
          <ac:spMkLst>
            <pc:docMk/>
            <pc:sldMk cId="4026320027" sldId="328"/>
            <ac:spMk id="3" creationId="{DB7D4A2E-A5E8-78A0-D026-A60BA0CB62AC}"/>
          </ac:spMkLst>
        </pc:spChg>
      </pc:sldChg>
      <pc:sldChg chg="addSp modSp add ord modNotes">
        <pc:chgData name="Leanne Manning" userId="730c7ce9-f6b4-453e-88a2-34d7f1a5ff9e" providerId="ADAL" clId="{1ACF3EB0-E21B-44EC-9BBB-55F0C183B15D}" dt="2025-05-07T23:18:11.342" v="701"/>
        <pc:sldMkLst>
          <pc:docMk/>
          <pc:sldMk cId="4248015998" sldId="329"/>
        </pc:sldMkLst>
        <pc:spChg chg="add mod">
          <ac:chgData name="Leanne Manning" userId="730c7ce9-f6b4-453e-88a2-34d7f1a5ff9e" providerId="ADAL" clId="{1ACF3EB0-E21B-44EC-9BBB-55F0C183B15D}" dt="2025-05-07T23:16:40.579" v="687"/>
          <ac:spMkLst>
            <pc:docMk/>
            <pc:sldMk cId="4248015998" sldId="329"/>
            <ac:spMk id="3" creationId="{1121EF5D-685E-9D10-4E3E-F70B045C51AE}"/>
          </ac:spMkLst>
        </pc:spChg>
      </pc:sldChg>
      <pc:sldChg chg="addSp modSp add ord modNotes">
        <pc:chgData name="Leanne Manning" userId="730c7ce9-f6b4-453e-88a2-34d7f1a5ff9e" providerId="ADAL" clId="{1ACF3EB0-E21B-44EC-9BBB-55F0C183B15D}" dt="2025-05-07T23:18:11.342" v="701"/>
        <pc:sldMkLst>
          <pc:docMk/>
          <pc:sldMk cId="3721319657" sldId="330"/>
        </pc:sldMkLst>
        <pc:spChg chg="add mod">
          <ac:chgData name="Leanne Manning" userId="730c7ce9-f6b4-453e-88a2-34d7f1a5ff9e" providerId="ADAL" clId="{1ACF3EB0-E21B-44EC-9BBB-55F0C183B15D}" dt="2025-05-07T23:16:43.863" v="688"/>
          <ac:spMkLst>
            <pc:docMk/>
            <pc:sldMk cId="3721319657" sldId="330"/>
            <ac:spMk id="3" creationId="{4359AB8C-405B-4920-5663-A981445ADD32}"/>
          </ac:spMkLst>
        </pc:spChg>
      </pc:sldChg>
      <pc:sldChg chg="addSp modSp add ord modNotes">
        <pc:chgData name="Leanne Manning" userId="730c7ce9-f6b4-453e-88a2-34d7f1a5ff9e" providerId="ADAL" clId="{1ACF3EB0-E21B-44EC-9BBB-55F0C183B15D}" dt="2025-05-07T23:18:11.342" v="701"/>
        <pc:sldMkLst>
          <pc:docMk/>
          <pc:sldMk cId="1066692025" sldId="331"/>
        </pc:sldMkLst>
        <pc:spChg chg="add mod">
          <ac:chgData name="Leanne Manning" userId="730c7ce9-f6b4-453e-88a2-34d7f1a5ff9e" providerId="ADAL" clId="{1ACF3EB0-E21B-44EC-9BBB-55F0C183B15D}" dt="2025-05-07T23:16:46.914" v="689"/>
          <ac:spMkLst>
            <pc:docMk/>
            <pc:sldMk cId="1066692025" sldId="331"/>
            <ac:spMk id="3" creationId="{B310C812-3ED8-3F82-B812-D295CA1F90F5}"/>
          </ac:spMkLst>
        </pc:spChg>
      </pc:sldChg>
      <pc:sldChg chg="addSp modSp new mod">
        <pc:chgData name="Leanne Manning" userId="730c7ce9-f6b4-453e-88a2-34d7f1a5ff9e" providerId="ADAL" clId="{1ACF3EB0-E21B-44EC-9BBB-55F0C183B15D}" dt="2025-05-08T03:08:21.784" v="1149" actId="20577"/>
        <pc:sldMkLst>
          <pc:docMk/>
          <pc:sldMk cId="438049310" sldId="332"/>
        </pc:sldMkLst>
        <pc:spChg chg="mod">
          <ac:chgData name="Leanne Manning" userId="730c7ce9-f6b4-453e-88a2-34d7f1a5ff9e" providerId="ADAL" clId="{1ACF3EB0-E21B-44EC-9BBB-55F0C183B15D}" dt="2025-05-08T03:08:21.784" v="1149" actId="20577"/>
          <ac:spMkLst>
            <pc:docMk/>
            <pc:sldMk cId="438049310" sldId="332"/>
            <ac:spMk id="2" creationId="{678F9638-84C5-2788-DEB0-CBDEB114C764}"/>
          </ac:spMkLst>
        </pc:spChg>
        <pc:spChg chg="mod">
          <ac:chgData name="Leanne Manning" userId="730c7ce9-f6b4-453e-88a2-34d7f1a5ff9e" providerId="ADAL" clId="{1ACF3EB0-E21B-44EC-9BBB-55F0C183B15D}" dt="2025-05-08T01:05:44.530" v="929" actId="6549"/>
          <ac:spMkLst>
            <pc:docMk/>
            <pc:sldMk cId="438049310" sldId="332"/>
            <ac:spMk id="3" creationId="{21BF11E8-BFFF-30BE-B0E7-87DDBB6CBFC0}"/>
          </ac:spMkLst>
        </pc:spChg>
        <pc:spChg chg="add mod">
          <ac:chgData name="Leanne Manning" userId="730c7ce9-f6b4-453e-88a2-34d7f1a5ff9e" providerId="ADAL" clId="{1ACF3EB0-E21B-44EC-9BBB-55F0C183B15D}" dt="2025-05-07T23:16:50.525" v="690"/>
          <ac:spMkLst>
            <pc:docMk/>
            <pc:sldMk cId="438049310" sldId="332"/>
            <ac:spMk id="6" creationId="{608482C7-FA93-E5ED-5277-AC964EAC2576}"/>
          </ac:spMkLst>
        </pc:spChg>
        <pc:picChg chg="add mod">
          <ac:chgData name="Leanne Manning" userId="730c7ce9-f6b4-453e-88a2-34d7f1a5ff9e" providerId="ADAL" clId="{1ACF3EB0-E21B-44EC-9BBB-55F0C183B15D}" dt="2025-05-07T23:05:28.476" v="645" actId="14100"/>
          <ac:picMkLst>
            <pc:docMk/>
            <pc:sldMk cId="438049310" sldId="332"/>
            <ac:picMk id="5" creationId="{BF791C89-DCE9-4937-C12C-DBF30A6AE551}"/>
          </ac:picMkLst>
        </pc:picChg>
      </pc:sldChg>
      <pc:sldChg chg="addSp modSp add mod ord">
        <pc:chgData name="Leanne Manning" userId="730c7ce9-f6b4-453e-88a2-34d7f1a5ff9e" providerId="ADAL" clId="{1ACF3EB0-E21B-44EC-9BBB-55F0C183B15D}" dt="2025-05-08T03:04:53.277" v="1056"/>
        <pc:sldMkLst>
          <pc:docMk/>
          <pc:sldMk cId="1405664071" sldId="333"/>
        </pc:sldMkLst>
        <pc:spChg chg="add mod">
          <ac:chgData name="Leanne Manning" userId="730c7ce9-f6b4-453e-88a2-34d7f1a5ff9e" providerId="ADAL" clId="{1ACF3EB0-E21B-44EC-9BBB-55F0C183B15D}" dt="2025-05-07T23:17:01.117" v="693" actId="1035"/>
          <ac:spMkLst>
            <pc:docMk/>
            <pc:sldMk cId="1405664071" sldId="333"/>
            <ac:spMk id="2" creationId="{308C903B-1D17-E85C-A277-D6EE2BE68A8C}"/>
          </ac:spMkLst>
        </pc:spChg>
      </pc:sldChg>
      <pc:sldChg chg="addSp modSp add mod ord">
        <pc:chgData name="Leanne Manning" userId="730c7ce9-f6b4-453e-88a2-34d7f1a5ff9e" providerId="ADAL" clId="{1ACF3EB0-E21B-44EC-9BBB-55F0C183B15D}" dt="2025-05-08T03:04:58.699" v="1058"/>
        <pc:sldMkLst>
          <pc:docMk/>
          <pc:sldMk cId="352795017" sldId="334"/>
        </pc:sldMkLst>
        <pc:spChg chg="add mod">
          <ac:chgData name="Leanne Manning" userId="730c7ce9-f6b4-453e-88a2-34d7f1a5ff9e" providerId="ADAL" clId="{1ACF3EB0-E21B-44EC-9BBB-55F0C183B15D}" dt="2025-05-07T23:17:20.477" v="697" actId="1076"/>
          <ac:spMkLst>
            <pc:docMk/>
            <pc:sldMk cId="352795017" sldId="334"/>
            <ac:spMk id="3" creationId="{AD41B909-8974-03FC-08CC-7F7E2B2AA1A6}"/>
          </ac:spMkLst>
        </pc:spChg>
      </pc:sldChg>
      <pc:sldChg chg="addSp modSp add ord">
        <pc:chgData name="Leanne Manning" userId="730c7ce9-f6b4-453e-88a2-34d7f1a5ff9e" providerId="ADAL" clId="{1ACF3EB0-E21B-44EC-9BBB-55F0C183B15D}" dt="2025-05-08T03:05:06.480" v="1060"/>
        <pc:sldMkLst>
          <pc:docMk/>
          <pc:sldMk cId="2217043903" sldId="335"/>
        </pc:sldMkLst>
        <pc:spChg chg="add mod">
          <ac:chgData name="Leanne Manning" userId="730c7ce9-f6b4-453e-88a2-34d7f1a5ff9e" providerId="ADAL" clId="{1ACF3EB0-E21B-44EC-9BBB-55F0C183B15D}" dt="2025-05-07T23:17:26.180" v="698"/>
          <ac:spMkLst>
            <pc:docMk/>
            <pc:sldMk cId="2217043903" sldId="335"/>
            <ac:spMk id="3" creationId="{E86DDD89-7A7B-39F7-8C80-E8813D2C6F8B}"/>
          </ac:spMkLst>
        </pc:spChg>
      </pc:sldChg>
      <pc:sldChg chg="addSp modSp new mod ord">
        <pc:chgData name="Leanne Manning" userId="730c7ce9-f6b4-453e-88a2-34d7f1a5ff9e" providerId="ADAL" clId="{1ACF3EB0-E21B-44EC-9BBB-55F0C183B15D}" dt="2025-05-08T02:58:37.564" v="1027" actId="1076"/>
        <pc:sldMkLst>
          <pc:docMk/>
          <pc:sldMk cId="3311209397" sldId="336"/>
        </pc:sldMkLst>
        <pc:spChg chg="add mod">
          <ac:chgData name="Leanne Manning" userId="730c7ce9-f6b4-453e-88a2-34d7f1a5ff9e" providerId="ADAL" clId="{1ACF3EB0-E21B-44EC-9BBB-55F0C183B15D}" dt="2025-05-08T02:58:37.564" v="1027" actId="1076"/>
          <ac:spMkLst>
            <pc:docMk/>
            <pc:sldMk cId="3311209397" sldId="336"/>
            <ac:spMk id="5" creationId="{336FE269-B977-37B3-E2DE-8707F99144A5}"/>
          </ac:spMkLst>
        </pc:spChg>
        <pc:picChg chg="add mod modCrop">
          <ac:chgData name="Leanne Manning" userId="730c7ce9-f6b4-453e-88a2-34d7f1a5ff9e" providerId="ADAL" clId="{1ACF3EB0-E21B-44EC-9BBB-55F0C183B15D}" dt="2025-05-08T02:58:08.944" v="1023" actId="732"/>
          <ac:picMkLst>
            <pc:docMk/>
            <pc:sldMk cId="3311209397" sldId="336"/>
            <ac:picMk id="4" creationId="{5435618B-F972-643A-41C2-3DFAA85BF53B}"/>
          </ac:picMkLst>
        </pc:picChg>
      </pc:sldChg>
      <pc:sldChg chg="addSp delSp modSp new mod ord">
        <pc:chgData name="Leanne Manning" userId="730c7ce9-f6b4-453e-88a2-34d7f1a5ff9e" providerId="ADAL" clId="{1ACF3EB0-E21B-44EC-9BBB-55F0C183B15D}" dt="2025-05-12T00:50:14.208" v="1155" actId="1076"/>
        <pc:sldMkLst>
          <pc:docMk/>
          <pc:sldMk cId="677954520" sldId="337"/>
        </pc:sldMkLst>
        <pc:spChg chg="add mod">
          <ac:chgData name="Leanne Manning" userId="730c7ce9-f6b4-453e-88a2-34d7f1a5ff9e" providerId="ADAL" clId="{1ACF3EB0-E21B-44EC-9BBB-55F0C183B15D}" dt="2025-05-08T02:57:49.599" v="1022" actId="14100"/>
          <ac:spMkLst>
            <pc:docMk/>
            <pc:sldMk cId="677954520" sldId="337"/>
            <ac:spMk id="5" creationId="{ED49EB8A-70E7-FA52-41F3-C1364D50F593}"/>
          </ac:spMkLst>
        </pc:spChg>
        <pc:picChg chg="add del mod modCrop">
          <ac:chgData name="Leanne Manning" userId="730c7ce9-f6b4-453e-88a2-34d7f1a5ff9e" providerId="ADAL" clId="{1ACF3EB0-E21B-44EC-9BBB-55F0C183B15D}" dt="2025-05-12T00:49:58.425" v="1152" actId="478"/>
          <ac:picMkLst>
            <pc:docMk/>
            <pc:sldMk cId="677954520" sldId="337"/>
            <ac:picMk id="4" creationId="{45524395-36AB-58F0-5791-FE3D3EF02888}"/>
          </ac:picMkLst>
        </pc:picChg>
        <pc:picChg chg="add mod">
          <ac:chgData name="Leanne Manning" userId="730c7ce9-f6b4-453e-88a2-34d7f1a5ff9e" providerId="ADAL" clId="{1ACF3EB0-E21B-44EC-9BBB-55F0C183B15D}" dt="2025-05-12T00:50:14.208" v="1155" actId="1076"/>
          <ac:picMkLst>
            <pc:docMk/>
            <pc:sldMk cId="677954520" sldId="337"/>
            <ac:picMk id="6" creationId="{05FC0D4A-DDB3-04ED-27B8-7BF6E0E26B38}"/>
          </ac:picMkLst>
        </pc:picChg>
      </pc:sldChg>
      <pc:sldChg chg="del">
        <pc:chgData name="Leanne Manning" userId="730c7ce9-f6b4-453e-88a2-34d7f1a5ff9e" providerId="ADAL" clId="{1ACF3EB0-E21B-44EC-9BBB-55F0C183B15D}" dt="2025-05-05T23:19:45.836" v="0" actId="47"/>
        <pc:sldMkLst>
          <pc:docMk/>
          <pc:sldMk cId="986692170" sldId="388"/>
        </pc:sldMkLst>
      </pc:sldChg>
      <pc:sldChg chg="del">
        <pc:chgData name="Leanne Manning" userId="730c7ce9-f6b4-453e-88a2-34d7f1a5ff9e" providerId="ADAL" clId="{1ACF3EB0-E21B-44EC-9BBB-55F0C183B15D}" dt="2025-05-05T23:19:45.836" v="0" actId="47"/>
        <pc:sldMkLst>
          <pc:docMk/>
          <pc:sldMk cId="1940304490" sldId="389"/>
        </pc:sldMkLst>
      </pc:sldChg>
      <pc:sldChg chg="del">
        <pc:chgData name="Leanne Manning" userId="730c7ce9-f6b4-453e-88a2-34d7f1a5ff9e" providerId="ADAL" clId="{1ACF3EB0-E21B-44EC-9BBB-55F0C183B15D}" dt="2025-05-05T23:19:45.836" v="0" actId="47"/>
        <pc:sldMkLst>
          <pc:docMk/>
          <pc:sldMk cId="658902598" sldId="390"/>
        </pc:sldMkLst>
      </pc:sldChg>
      <pc:sldChg chg="del">
        <pc:chgData name="Leanne Manning" userId="730c7ce9-f6b4-453e-88a2-34d7f1a5ff9e" providerId="ADAL" clId="{1ACF3EB0-E21B-44EC-9BBB-55F0C183B15D}" dt="2025-05-05T23:19:45.836" v="0" actId="47"/>
        <pc:sldMkLst>
          <pc:docMk/>
          <pc:sldMk cId="129777823" sldId="391"/>
        </pc:sldMkLst>
      </pc:sldChg>
      <pc:sldChg chg="del">
        <pc:chgData name="Leanne Manning" userId="730c7ce9-f6b4-453e-88a2-34d7f1a5ff9e" providerId="ADAL" clId="{1ACF3EB0-E21B-44EC-9BBB-55F0C183B15D}" dt="2025-05-05T23:34:26.002" v="1" actId="47"/>
        <pc:sldMkLst>
          <pc:docMk/>
          <pc:sldMk cId="368859131" sldId="392"/>
        </pc:sldMkLst>
      </pc:sldChg>
      <pc:sldChg chg="del">
        <pc:chgData name="Leanne Manning" userId="730c7ce9-f6b4-453e-88a2-34d7f1a5ff9e" providerId="ADAL" clId="{1ACF3EB0-E21B-44EC-9BBB-55F0C183B15D}" dt="2025-05-05T23:34:26.002" v="1" actId="47"/>
        <pc:sldMkLst>
          <pc:docMk/>
          <pc:sldMk cId="810739275" sldId="393"/>
        </pc:sldMkLst>
      </pc:sldChg>
      <pc:sldChg chg="del">
        <pc:chgData name="Leanne Manning" userId="730c7ce9-f6b4-453e-88a2-34d7f1a5ff9e" providerId="ADAL" clId="{1ACF3EB0-E21B-44EC-9BBB-55F0C183B15D}" dt="2025-05-05T23:34:26.002" v="1" actId="47"/>
        <pc:sldMkLst>
          <pc:docMk/>
          <pc:sldMk cId="425344502" sldId="394"/>
        </pc:sldMkLst>
      </pc:sldChg>
      <pc:sldChg chg="del">
        <pc:chgData name="Leanne Manning" userId="730c7ce9-f6b4-453e-88a2-34d7f1a5ff9e" providerId="ADAL" clId="{1ACF3EB0-E21B-44EC-9BBB-55F0C183B15D}" dt="2025-05-05T23:34:26.002" v="1" actId="47"/>
        <pc:sldMkLst>
          <pc:docMk/>
          <pc:sldMk cId="276944936" sldId="395"/>
        </pc:sldMkLst>
      </pc:sldChg>
      <pc:sldChg chg="del">
        <pc:chgData name="Leanne Manning" userId="730c7ce9-f6b4-453e-88a2-34d7f1a5ff9e" providerId="ADAL" clId="{1ACF3EB0-E21B-44EC-9BBB-55F0C183B15D}" dt="2025-05-05T23:34:26.002" v="1" actId="47"/>
        <pc:sldMkLst>
          <pc:docMk/>
          <pc:sldMk cId="3869132372" sldId="396"/>
        </pc:sldMkLst>
      </pc:sldChg>
      <pc:sldChg chg="del">
        <pc:chgData name="Leanne Manning" userId="730c7ce9-f6b4-453e-88a2-34d7f1a5ff9e" providerId="ADAL" clId="{1ACF3EB0-E21B-44EC-9BBB-55F0C183B15D}" dt="2025-05-05T23:34:26.002" v="1" actId="47"/>
        <pc:sldMkLst>
          <pc:docMk/>
          <pc:sldMk cId="1403437018" sldId="397"/>
        </pc:sldMkLst>
      </pc:sldChg>
      <pc:sldChg chg="del">
        <pc:chgData name="Leanne Manning" userId="730c7ce9-f6b4-453e-88a2-34d7f1a5ff9e" providerId="ADAL" clId="{1ACF3EB0-E21B-44EC-9BBB-55F0C183B15D}" dt="2025-05-05T23:34:26.002" v="1" actId="47"/>
        <pc:sldMkLst>
          <pc:docMk/>
          <pc:sldMk cId="2594374849" sldId="398"/>
        </pc:sldMkLst>
      </pc:sldChg>
      <pc:sldChg chg="del">
        <pc:chgData name="Leanne Manning" userId="730c7ce9-f6b4-453e-88a2-34d7f1a5ff9e" providerId="ADAL" clId="{1ACF3EB0-E21B-44EC-9BBB-55F0C183B15D}" dt="2025-05-05T23:34:26.002" v="1" actId="47"/>
        <pc:sldMkLst>
          <pc:docMk/>
          <pc:sldMk cId="90010505" sldId="399"/>
        </pc:sldMkLst>
      </pc:sldChg>
      <pc:sldChg chg="del">
        <pc:chgData name="Leanne Manning" userId="730c7ce9-f6b4-453e-88a2-34d7f1a5ff9e" providerId="ADAL" clId="{1ACF3EB0-E21B-44EC-9BBB-55F0C183B15D}" dt="2025-05-05T23:34:26.002" v="1" actId="47"/>
        <pc:sldMkLst>
          <pc:docMk/>
          <pc:sldMk cId="3828699328" sldId="400"/>
        </pc:sldMkLst>
      </pc:sldChg>
      <pc:sldChg chg="del">
        <pc:chgData name="Leanne Manning" userId="730c7ce9-f6b4-453e-88a2-34d7f1a5ff9e" providerId="ADAL" clId="{1ACF3EB0-E21B-44EC-9BBB-55F0C183B15D}" dt="2025-05-05T23:34:26.002" v="1" actId="47"/>
        <pc:sldMkLst>
          <pc:docMk/>
          <pc:sldMk cId="1150952222" sldId="401"/>
        </pc:sldMkLst>
      </pc:sldChg>
      <pc:sldChg chg="del">
        <pc:chgData name="Leanne Manning" userId="730c7ce9-f6b4-453e-88a2-34d7f1a5ff9e" providerId="ADAL" clId="{1ACF3EB0-E21B-44EC-9BBB-55F0C183B15D}" dt="2025-05-05T23:34:26.002" v="1" actId="47"/>
        <pc:sldMkLst>
          <pc:docMk/>
          <pc:sldMk cId="530561" sldId="402"/>
        </pc:sldMkLst>
      </pc:sldChg>
      <pc:sldChg chg="del">
        <pc:chgData name="Leanne Manning" userId="730c7ce9-f6b4-453e-88a2-34d7f1a5ff9e" providerId="ADAL" clId="{1ACF3EB0-E21B-44EC-9BBB-55F0C183B15D}" dt="2025-05-05T23:34:26.002" v="1" actId="47"/>
        <pc:sldMkLst>
          <pc:docMk/>
          <pc:sldMk cId="3660000766" sldId="403"/>
        </pc:sldMkLst>
      </pc:sldChg>
      <pc:sldChg chg="del">
        <pc:chgData name="Leanne Manning" userId="730c7ce9-f6b4-453e-88a2-34d7f1a5ff9e" providerId="ADAL" clId="{1ACF3EB0-E21B-44EC-9BBB-55F0C183B15D}" dt="2025-05-05T23:34:26.002" v="1" actId="47"/>
        <pc:sldMkLst>
          <pc:docMk/>
          <pc:sldMk cId="2100973290" sldId="404"/>
        </pc:sldMkLst>
      </pc:sldChg>
      <pc:sldMasterChg chg="modSldLayout">
        <pc:chgData name="Leanne Manning" userId="730c7ce9-f6b4-453e-88a2-34d7f1a5ff9e" providerId="ADAL" clId="{1ACF3EB0-E21B-44EC-9BBB-55F0C183B15D}" dt="2025-05-05T23:46:14.988" v="18" actId="27028"/>
        <pc:sldMasterMkLst>
          <pc:docMk/>
          <pc:sldMasterMk cId="0" sldId="2147483648"/>
        </pc:sldMasterMkLst>
        <pc:sldLayoutChg chg="replId">
          <pc:chgData name="Leanne Manning" userId="730c7ce9-f6b4-453e-88a2-34d7f1a5ff9e" providerId="ADAL" clId="{1ACF3EB0-E21B-44EC-9BBB-55F0C183B15D}" dt="2025-05-05T23:46:14.988" v="18" actId="27028"/>
          <pc:sldLayoutMkLst>
            <pc:docMk/>
            <pc:sldMasterMk cId="0" sldId="2147483648"/>
            <pc:sldLayoutMk cId="0" sldId="2147483668"/>
          </pc:sldLayoutMkLst>
        </pc:sldLayoutChg>
        <pc:sldLayoutChg chg="replId">
          <pc:chgData name="Leanne Manning" userId="730c7ce9-f6b4-453e-88a2-34d7f1a5ff9e" providerId="ADAL" clId="{1ACF3EB0-E21B-44EC-9BBB-55F0C183B15D}" dt="2025-05-05T23:46:14.988" v="18" actId="27028"/>
          <pc:sldLayoutMkLst>
            <pc:docMk/>
            <pc:sldMasterMk cId="0" sldId="2147483648"/>
            <pc:sldLayoutMk cId="0" sldId="2147483669"/>
          </pc:sldLayoutMkLst>
        </pc:sldLayoutChg>
        <pc:sldLayoutChg chg="replId">
          <pc:chgData name="Leanne Manning" userId="730c7ce9-f6b4-453e-88a2-34d7f1a5ff9e" providerId="ADAL" clId="{1ACF3EB0-E21B-44EC-9BBB-55F0C183B15D}" dt="2025-05-05T23:46:14.988" v="18" actId="27028"/>
          <pc:sldLayoutMkLst>
            <pc:docMk/>
            <pc:sldMasterMk cId="0" sldId="2147483648"/>
            <pc:sldLayoutMk cId="0" sldId="2147483670"/>
          </pc:sldLayoutMkLst>
        </pc:sldLayoutChg>
        <pc:sldLayoutChg chg="replId">
          <pc:chgData name="Leanne Manning" userId="730c7ce9-f6b4-453e-88a2-34d7f1a5ff9e" providerId="ADAL" clId="{1ACF3EB0-E21B-44EC-9BBB-55F0C183B15D}" dt="2025-05-05T23:46:14.988" v="18" actId="27028"/>
          <pc:sldLayoutMkLst>
            <pc:docMk/>
            <pc:sldMasterMk cId="0" sldId="2147483648"/>
            <pc:sldLayoutMk cId="0" sldId="2147483671"/>
          </pc:sldLayoutMkLst>
        </pc:sldLayoutChg>
        <pc:sldLayoutChg chg="replId">
          <pc:chgData name="Leanne Manning" userId="730c7ce9-f6b4-453e-88a2-34d7f1a5ff9e" providerId="ADAL" clId="{1ACF3EB0-E21B-44EC-9BBB-55F0C183B15D}" dt="2025-05-05T23:46:14.988" v="18" actId="27028"/>
          <pc:sldLayoutMkLst>
            <pc:docMk/>
            <pc:sldMasterMk cId="0" sldId="2147483648"/>
            <pc:sldLayoutMk cId="0" sldId="2147483672"/>
          </pc:sldLayoutMkLst>
        </pc:sldLayoutChg>
      </pc:sldMasterChg>
      <pc:sldMasterChg chg="add del addSldLayout delSldLayout modSldLayout">
        <pc:chgData name="Leanne Manning" userId="730c7ce9-f6b4-453e-88a2-34d7f1a5ff9e" providerId="ADAL" clId="{1ACF3EB0-E21B-44EC-9BBB-55F0C183B15D}" dt="2025-05-07T09:01:18.812" v="315" actId="47"/>
        <pc:sldMasterMkLst>
          <pc:docMk/>
          <pc:sldMasterMk cId="295914061" sldId="2147483660"/>
        </pc:sldMasterMkLst>
        <pc:sldLayoutChg chg="add del">
          <pc:chgData name="Leanne Manning" userId="730c7ce9-f6b4-453e-88a2-34d7f1a5ff9e" providerId="ADAL" clId="{1ACF3EB0-E21B-44EC-9BBB-55F0C183B15D}" dt="2025-05-07T09:01:18.812" v="315" actId="47"/>
          <pc:sldLayoutMkLst>
            <pc:docMk/>
            <pc:sldMasterMk cId="295914061" sldId="2147483660"/>
            <pc:sldLayoutMk cId="1425635132" sldId="2147483661"/>
          </pc:sldLayoutMkLst>
        </pc:sldLayoutChg>
        <pc:sldLayoutChg chg="add del">
          <pc:chgData name="Leanne Manning" userId="730c7ce9-f6b4-453e-88a2-34d7f1a5ff9e" providerId="ADAL" clId="{1ACF3EB0-E21B-44EC-9BBB-55F0C183B15D}" dt="2025-05-07T09:01:18.812" v="315" actId="47"/>
          <pc:sldLayoutMkLst>
            <pc:docMk/>
            <pc:sldMasterMk cId="295914061" sldId="2147483660"/>
            <pc:sldLayoutMk cId="3531359193" sldId="2147483663"/>
          </pc:sldLayoutMkLst>
        </pc:sldLayoutChg>
        <pc:sldLayoutChg chg="add del">
          <pc:chgData name="Leanne Manning" userId="730c7ce9-f6b4-453e-88a2-34d7f1a5ff9e" providerId="ADAL" clId="{1ACF3EB0-E21B-44EC-9BBB-55F0C183B15D}" dt="2025-05-07T09:01:18.812" v="315" actId="47"/>
          <pc:sldLayoutMkLst>
            <pc:docMk/>
            <pc:sldMasterMk cId="295914061" sldId="2147483660"/>
            <pc:sldLayoutMk cId="45303894" sldId="2147483664"/>
          </pc:sldLayoutMkLst>
        </pc:sldLayoutChg>
        <pc:sldLayoutChg chg="add del replId">
          <pc:chgData name="Leanne Manning" userId="730c7ce9-f6b4-453e-88a2-34d7f1a5ff9e" providerId="ADAL" clId="{1ACF3EB0-E21B-44EC-9BBB-55F0C183B15D}" dt="2025-05-07T09:01:18.812" v="315" actId="47"/>
          <pc:sldLayoutMkLst>
            <pc:docMk/>
            <pc:sldMasterMk cId="295914061" sldId="2147483660"/>
            <pc:sldLayoutMk cId="567167197" sldId="2147483685"/>
          </pc:sldLayoutMkLst>
        </pc:sldLayoutChg>
        <pc:sldLayoutChg chg="add del replId">
          <pc:chgData name="Leanne Manning" userId="730c7ce9-f6b4-453e-88a2-34d7f1a5ff9e" providerId="ADAL" clId="{1ACF3EB0-E21B-44EC-9BBB-55F0C183B15D}" dt="2025-05-07T09:01:18.812" v="315" actId="47"/>
          <pc:sldLayoutMkLst>
            <pc:docMk/>
            <pc:sldMasterMk cId="295914061" sldId="2147483660"/>
            <pc:sldLayoutMk cId="385199374" sldId="2147483687"/>
          </pc:sldLayoutMkLst>
        </pc:sldLayoutChg>
      </pc:sldMasterChg>
      <pc:sldMasterChg chg="add addSldLayout">
        <pc:chgData name="Leanne Manning" userId="730c7ce9-f6b4-453e-88a2-34d7f1a5ff9e" providerId="ADAL" clId="{1ACF3EB0-E21B-44EC-9BBB-55F0C183B15D}" dt="2025-05-07T22:53:26.710" v="506" actId="27028"/>
        <pc:sldMasterMkLst>
          <pc:docMk/>
          <pc:sldMasterMk cId="2946213098" sldId="2147483660"/>
        </pc:sldMasterMkLst>
        <pc:sldLayoutChg chg="add">
          <pc:chgData name="Leanne Manning" userId="730c7ce9-f6b4-453e-88a2-34d7f1a5ff9e" providerId="ADAL" clId="{1ACF3EB0-E21B-44EC-9BBB-55F0C183B15D}" dt="2025-05-07T22:53:26.710" v="506" actId="27028"/>
          <pc:sldLayoutMkLst>
            <pc:docMk/>
            <pc:sldMasterMk cId="2946213098" sldId="2147483660"/>
            <pc:sldLayoutMk cId="690904376" sldId="2147483694"/>
          </pc:sldLayoutMkLst>
        </pc:sldLayoutChg>
      </pc:sldMasterChg>
      <pc:sldMasterChg chg="add addSldLayout">
        <pc:chgData name="Leanne Manning" userId="730c7ce9-f6b4-453e-88a2-34d7f1a5ff9e" providerId="ADAL" clId="{1ACF3EB0-E21B-44EC-9BBB-55F0C183B15D}" dt="2025-05-06T00:12:52.398" v="38" actId="27028"/>
        <pc:sldMasterMkLst>
          <pc:docMk/>
          <pc:sldMasterMk cId="0" sldId="2147483666"/>
        </pc:sldMasterMkLst>
        <pc:sldLayoutChg chg="add">
          <pc:chgData name="Leanne Manning" userId="730c7ce9-f6b4-453e-88a2-34d7f1a5ff9e" providerId="ADAL" clId="{1ACF3EB0-E21B-44EC-9BBB-55F0C183B15D}" dt="2025-05-06T00:12:52.398" v="38" actId="27028"/>
          <pc:sldLayoutMkLst>
            <pc:docMk/>
            <pc:sldMasterMk cId="0" sldId="2147483666"/>
            <pc:sldLayoutMk cId="0" sldId="2147483665"/>
          </pc:sldLayoutMkLst>
        </pc:sldLayoutChg>
        <pc:sldLayoutChg chg="add">
          <pc:chgData name="Leanne Manning" userId="730c7ce9-f6b4-453e-88a2-34d7f1a5ff9e" providerId="ADAL" clId="{1ACF3EB0-E21B-44EC-9BBB-55F0C183B15D}" dt="2025-05-05T23:42:20.407" v="10" actId="27028"/>
          <pc:sldLayoutMkLst>
            <pc:docMk/>
            <pc:sldMasterMk cId="0" sldId="2147483666"/>
            <pc:sldLayoutMk cId="0" sldId="2147483667"/>
          </pc:sldLayoutMkLst>
        </pc:sldLayoutChg>
      </pc:sldMasterChg>
      <pc:sldMasterChg chg="del delSldLayout">
        <pc:chgData name="Leanne Manning" userId="730c7ce9-f6b4-453e-88a2-34d7f1a5ff9e" providerId="ADAL" clId="{1ACF3EB0-E21B-44EC-9BBB-55F0C183B15D}" dt="2025-05-05T23:34:26.002" v="1" actId="47"/>
        <pc:sldMasterMkLst>
          <pc:docMk/>
          <pc:sldMasterMk cId="2533986706" sldId="2147483666"/>
        </pc:sldMasterMkLst>
        <pc:sldLayoutChg chg="del">
          <pc:chgData name="Leanne Manning" userId="730c7ce9-f6b4-453e-88a2-34d7f1a5ff9e" providerId="ADAL" clId="{1ACF3EB0-E21B-44EC-9BBB-55F0C183B15D}" dt="2025-05-05T23:34:26.002" v="1" actId="47"/>
          <pc:sldLayoutMkLst>
            <pc:docMk/>
            <pc:sldMasterMk cId="2533986706" sldId="2147483666"/>
            <pc:sldLayoutMk cId="789008366" sldId="2147483667"/>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4228688457" sldId="2147483668"/>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814128052" sldId="2147483669"/>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1657710460" sldId="2147483670"/>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347665882" sldId="2147483671"/>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3417511618" sldId="2147483672"/>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4103115783" sldId="2147483673"/>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2060935477" sldId="2147483674"/>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1871543565" sldId="2147483675"/>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836322674" sldId="2147483676"/>
          </pc:sldLayoutMkLst>
        </pc:sldLayoutChg>
        <pc:sldLayoutChg chg="del">
          <pc:chgData name="Leanne Manning" userId="730c7ce9-f6b4-453e-88a2-34d7f1a5ff9e" providerId="ADAL" clId="{1ACF3EB0-E21B-44EC-9BBB-55F0C183B15D}" dt="2025-05-05T23:34:26.002" v="1" actId="47"/>
          <pc:sldLayoutMkLst>
            <pc:docMk/>
            <pc:sldMasterMk cId="2533986706" sldId="2147483666"/>
            <pc:sldLayoutMk cId="1266219502" sldId="2147483677"/>
          </pc:sldLayoutMkLst>
        </pc:sldLayoutChg>
      </pc:sldMasterChg>
      <pc:sldMasterChg chg="add del replId addSldLayout delSldLayout modSldLayout">
        <pc:chgData name="Leanne Manning" userId="730c7ce9-f6b4-453e-88a2-34d7f1a5ff9e" providerId="ADAL" clId="{1ACF3EB0-E21B-44EC-9BBB-55F0C183B15D}" dt="2025-05-07T22:51:37.536" v="505" actId="47"/>
        <pc:sldMasterMkLst>
          <pc:docMk/>
          <pc:sldMasterMk cId="1062742559" sldId="2147483673"/>
        </pc:sldMasterMkLst>
        <pc:sldLayoutChg chg="add del replId">
          <pc:chgData name="Leanne Manning" userId="730c7ce9-f6b4-453e-88a2-34d7f1a5ff9e" providerId="ADAL" clId="{1ACF3EB0-E21B-44EC-9BBB-55F0C183B15D}" dt="2025-05-07T22:51:37.536" v="505" actId="47"/>
          <pc:sldLayoutMkLst>
            <pc:docMk/>
            <pc:sldMasterMk cId="1062742559" sldId="2147483673"/>
            <pc:sldLayoutMk cId="3231049248" sldId="2147483674"/>
          </pc:sldLayoutMkLst>
        </pc:sldLayoutChg>
        <pc:sldLayoutChg chg="add del replId">
          <pc:chgData name="Leanne Manning" userId="730c7ce9-f6b4-453e-88a2-34d7f1a5ff9e" providerId="ADAL" clId="{1ACF3EB0-E21B-44EC-9BBB-55F0C183B15D}" dt="2025-05-07T22:51:37.536" v="505" actId="47"/>
          <pc:sldLayoutMkLst>
            <pc:docMk/>
            <pc:sldMasterMk cId="1062742559" sldId="2147483673"/>
            <pc:sldLayoutMk cId="234501320" sldId="2147483675"/>
          </pc:sldLayoutMkLst>
        </pc:sldLayoutChg>
        <pc:sldLayoutChg chg="add del replId">
          <pc:chgData name="Leanne Manning" userId="730c7ce9-f6b4-453e-88a2-34d7f1a5ff9e" providerId="ADAL" clId="{1ACF3EB0-E21B-44EC-9BBB-55F0C183B15D}" dt="2025-05-07T22:51:37.536" v="505" actId="47"/>
          <pc:sldLayoutMkLst>
            <pc:docMk/>
            <pc:sldMasterMk cId="1062742559" sldId="2147483673"/>
            <pc:sldLayoutMk cId="1838878666" sldId="2147483676"/>
          </pc:sldLayoutMkLst>
        </pc:sldLayoutChg>
        <pc:sldLayoutChg chg="add del replId">
          <pc:chgData name="Leanne Manning" userId="730c7ce9-f6b4-453e-88a2-34d7f1a5ff9e" providerId="ADAL" clId="{1ACF3EB0-E21B-44EC-9BBB-55F0C183B15D}" dt="2025-05-07T22:51:37.536" v="505" actId="47"/>
          <pc:sldLayoutMkLst>
            <pc:docMk/>
            <pc:sldMasterMk cId="1062742559" sldId="2147483673"/>
            <pc:sldLayoutMk cId="635018189" sldId="2147483677"/>
          </pc:sldLayoutMkLst>
        </pc:sldLayoutChg>
        <pc:sldLayoutChg chg="add del replId">
          <pc:chgData name="Leanne Manning" userId="730c7ce9-f6b4-453e-88a2-34d7f1a5ff9e" providerId="ADAL" clId="{1ACF3EB0-E21B-44EC-9BBB-55F0C183B15D}" dt="2025-05-07T22:51:37.536" v="505" actId="47"/>
          <pc:sldLayoutMkLst>
            <pc:docMk/>
            <pc:sldMasterMk cId="1062742559" sldId="2147483673"/>
            <pc:sldLayoutMk cId="2654586600" sldId="2147483678"/>
          </pc:sldLayoutMkLst>
        </pc:sldLayoutChg>
      </pc:sldMasterChg>
      <pc:sldMasterChg chg="add replId addSldLayout modSldLayout">
        <pc:chgData name="Leanne Manning" userId="730c7ce9-f6b4-453e-88a2-34d7f1a5ff9e" providerId="ADAL" clId="{1ACF3EB0-E21B-44EC-9BBB-55F0C183B15D}" dt="2025-05-06T00:09:59.725" v="32" actId="27028"/>
        <pc:sldMasterMkLst>
          <pc:docMk/>
          <pc:sldMasterMk cId="2930849503" sldId="2147483679"/>
        </pc:sldMasterMkLst>
        <pc:sldLayoutChg chg="add replId">
          <pc:chgData name="Leanne Manning" userId="730c7ce9-f6b4-453e-88a2-34d7f1a5ff9e" providerId="ADAL" clId="{1ACF3EB0-E21B-44EC-9BBB-55F0C183B15D}" dt="2025-05-06T00:09:59.725" v="32" actId="27028"/>
          <pc:sldLayoutMkLst>
            <pc:docMk/>
            <pc:sldMasterMk cId="2930849503" sldId="2147483679"/>
            <pc:sldLayoutMk cId="4020100562" sldId="2147483680"/>
          </pc:sldLayoutMkLst>
        </pc:sldLayoutChg>
        <pc:sldLayoutChg chg="add replId">
          <pc:chgData name="Leanne Manning" userId="730c7ce9-f6b4-453e-88a2-34d7f1a5ff9e" providerId="ADAL" clId="{1ACF3EB0-E21B-44EC-9BBB-55F0C183B15D}" dt="2025-05-06T00:09:59.725" v="32" actId="27028"/>
          <pc:sldLayoutMkLst>
            <pc:docMk/>
            <pc:sldMasterMk cId="2930849503" sldId="2147483679"/>
            <pc:sldLayoutMk cId="1960153312" sldId="2147483681"/>
          </pc:sldLayoutMkLst>
        </pc:sldLayoutChg>
        <pc:sldLayoutChg chg="add replId">
          <pc:chgData name="Leanne Manning" userId="730c7ce9-f6b4-453e-88a2-34d7f1a5ff9e" providerId="ADAL" clId="{1ACF3EB0-E21B-44EC-9BBB-55F0C183B15D}" dt="2025-05-06T00:09:59.725" v="32" actId="27028"/>
          <pc:sldLayoutMkLst>
            <pc:docMk/>
            <pc:sldMasterMk cId="2930849503" sldId="2147483679"/>
            <pc:sldLayoutMk cId="3803758666" sldId="2147483682"/>
          </pc:sldLayoutMkLst>
        </pc:sldLayoutChg>
        <pc:sldLayoutChg chg="add replId">
          <pc:chgData name="Leanne Manning" userId="730c7ce9-f6b4-453e-88a2-34d7f1a5ff9e" providerId="ADAL" clId="{1ACF3EB0-E21B-44EC-9BBB-55F0C183B15D}" dt="2025-05-06T00:09:59.725" v="32" actId="27028"/>
          <pc:sldLayoutMkLst>
            <pc:docMk/>
            <pc:sldMasterMk cId="2930849503" sldId="2147483679"/>
            <pc:sldLayoutMk cId="865070131" sldId="2147483683"/>
          </pc:sldLayoutMkLst>
        </pc:sldLayoutChg>
        <pc:sldLayoutChg chg="add replId">
          <pc:chgData name="Leanne Manning" userId="730c7ce9-f6b4-453e-88a2-34d7f1a5ff9e" providerId="ADAL" clId="{1ACF3EB0-E21B-44EC-9BBB-55F0C183B15D}" dt="2025-05-06T00:09:59.725" v="32" actId="27028"/>
          <pc:sldLayoutMkLst>
            <pc:docMk/>
            <pc:sldMasterMk cId="2930849503" sldId="2147483679"/>
            <pc:sldLayoutMk cId="4040598335" sldId="2147483684"/>
          </pc:sldLayoutMkLst>
        </pc:sldLayoutChg>
      </pc:sldMasterChg>
      <pc:sldMasterChg chg="add addSldLayout modSldLayout">
        <pc:chgData name="Leanne Manning" userId="730c7ce9-f6b4-453e-88a2-34d7f1a5ff9e" providerId="ADAL" clId="{1ACF3EB0-E21B-44EC-9BBB-55F0C183B15D}" dt="2025-05-07T09:00:00.735" v="304" actId="27028"/>
        <pc:sldMasterMkLst>
          <pc:docMk/>
          <pc:sldMasterMk cId="0" sldId="2147483686"/>
        </pc:sldMasterMkLst>
        <pc:sldLayoutChg chg="add replId">
          <pc:chgData name="Leanne Manning" userId="730c7ce9-f6b4-453e-88a2-34d7f1a5ff9e" providerId="ADAL" clId="{1ACF3EB0-E21B-44EC-9BBB-55F0C183B15D}" dt="2025-05-07T09:00:00.735" v="304" actId="27028"/>
          <pc:sldLayoutMkLst>
            <pc:docMk/>
            <pc:sldMasterMk cId="0" sldId="2147483686"/>
            <pc:sldLayoutMk cId="0" sldId="2147483691"/>
          </pc:sldLayoutMkLst>
        </pc:sldLayoutChg>
      </pc:sldMasterChg>
      <pc:sldMasterChg chg="add addSldLayout">
        <pc:chgData name="Leanne Manning" userId="730c7ce9-f6b4-453e-88a2-34d7f1a5ff9e" providerId="ADAL" clId="{1ACF3EB0-E21B-44EC-9BBB-55F0C183B15D}" dt="2025-05-07T08:43:29.140" v="268" actId="27028"/>
        <pc:sldMasterMkLst>
          <pc:docMk/>
          <pc:sldMasterMk cId="0" sldId="2147483688"/>
        </pc:sldMasterMkLst>
        <pc:sldLayoutChg chg="add">
          <pc:chgData name="Leanne Manning" userId="730c7ce9-f6b4-453e-88a2-34d7f1a5ff9e" providerId="ADAL" clId="{1ACF3EB0-E21B-44EC-9BBB-55F0C183B15D}" dt="2025-05-07T08:43:29.140" v="268" actId="27028"/>
          <pc:sldLayoutMkLst>
            <pc:docMk/>
            <pc:sldMasterMk cId="0" sldId="2147483688"/>
            <pc:sldLayoutMk cId="0" sldId="2147483689"/>
          </pc:sldLayoutMkLst>
        </pc:sldLayoutChg>
      </pc:sldMasterChg>
      <pc:sldMasterChg chg="add addSldLayout modSldLayout">
        <pc:chgData name="Leanne Manning" userId="730c7ce9-f6b4-453e-88a2-34d7f1a5ff9e" providerId="ADAL" clId="{1ACF3EB0-E21B-44EC-9BBB-55F0C183B15D}" dt="2025-05-07T22:53:26.710" v="506" actId="27028"/>
        <pc:sldMasterMkLst>
          <pc:docMk/>
          <pc:sldMasterMk cId="295914061" sldId="2147483690"/>
        </pc:sldMasterMkLst>
        <pc:sldLayoutChg chg="add replId">
          <pc:chgData name="Leanne Manning" userId="730c7ce9-f6b4-453e-88a2-34d7f1a5ff9e" providerId="ADAL" clId="{1ACF3EB0-E21B-44EC-9BBB-55F0C183B15D}" dt="2025-05-07T22:53:26.710" v="506" actId="27028"/>
          <pc:sldLayoutMkLst>
            <pc:docMk/>
            <pc:sldMasterMk cId="295914061" sldId="2147483690"/>
            <pc:sldLayoutMk cId="385199374" sldId="2147483692"/>
          </pc:sldLayoutMkLst>
        </pc:sldLayoutChg>
      </pc:sldMasterChg>
    </pc:docChg>
  </pc:docChgLst>
  <pc:docChgLst>
    <pc:chgData name="Carolyn Bryant" userId="4fe4de5a-9b69-40ba-b264-41cad4362eb3" providerId="ADAL" clId="{F20CC085-6BA9-40C7-885E-A4FF092891C9}"/>
    <pc:docChg chg="custSel addSld delSld modSld">
      <pc:chgData name="Carolyn Bryant" userId="4fe4de5a-9b69-40ba-b264-41cad4362eb3" providerId="ADAL" clId="{F20CC085-6BA9-40C7-885E-A4FF092891C9}" dt="2025-04-04T06:11:05.681" v="86" actId="2696"/>
      <pc:docMkLst>
        <pc:docMk/>
      </pc:docMkLst>
      <pc:sldChg chg="addSp delSp modSp new del mod">
        <pc:chgData name="Carolyn Bryant" userId="4fe4de5a-9b69-40ba-b264-41cad4362eb3" providerId="ADAL" clId="{F20CC085-6BA9-40C7-885E-A4FF092891C9}" dt="2025-04-04T06:11:05.681" v="86" actId="2696"/>
        <pc:sldMkLst>
          <pc:docMk/>
          <pc:sldMk cId="2282690762" sldId="405"/>
        </pc:sldMkLst>
      </pc:sldChg>
      <pc:sldChg chg="modSp del mod">
        <pc:chgData name="Carolyn Bryant" userId="4fe4de5a-9b69-40ba-b264-41cad4362eb3" providerId="ADAL" clId="{F20CC085-6BA9-40C7-885E-A4FF092891C9}" dt="2025-04-04T06:11:05.681" v="86" actId="2696"/>
        <pc:sldMkLst>
          <pc:docMk/>
          <pc:sldMk cId="2222288761" sldId="406"/>
        </pc:sldMkLst>
      </pc:sldChg>
      <pc:sldChg chg="modSp del mod">
        <pc:chgData name="Carolyn Bryant" userId="4fe4de5a-9b69-40ba-b264-41cad4362eb3" providerId="ADAL" clId="{F20CC085-6BA9-40C7-885E-A4FF092891C9}" dt="2025-04-04T06:11:05.681" v="86" actId="2696"/>
        <pc:sldMkLst>
          <pc:docMk/>
          <pc:sldMk cId="3714469304" sldId="407"/>
        </pc:sldMkLst>
      </pc:sldChg>
      <pc:sldChg chg="modSp del mod">
        <pc:chgData name="Carolyn Bryant" userId="4fe4de5a-9b69-40ba-b264-41cad4362eb3" providerId="ADAL" clId="{F20CC085-6BA9-40C7-885E-A4FF092891C9}" dt="2025-04-04T06:11:05.681" v="86" actId="2696"/>
        <pc:sldMkLst>
          <pc:docMk/>
          <pc:sldMk cId="4010760863" sldId="408"/>
        </pc:sldMkLst>
      </pc:sldChg>
    </pc:docChg>
  </pc:docChgLst>
  <pc:docChgLst>
    <pc:chgData name="Leanne Manning" userId="730c7ce9-f6b4-453e-88a2-34d7f1a5ff9e" providerId="ADAL" clId="{8CDD1D14-E679-4D8B-9F79-A7B46C05D1E3}"/>
    <pc:docChg chg="custSel modSld">
      <pc:chgData name="Leanne Manning" userId="730c7ce9-f6b4-453e-88a2-34d7f1a5ff9e" providerId="ADAL" clId="{8CDD1D14-E679-4D8B-9F79-A7B46C05D1E3}" dt="2025-05-13T04:39:52.789" v="4" actId="1076"/>
      <pc:docMkLst>
        <pc:docMk/>
      </pc:docMkLst>
      <pc:sldChg chg="addSp delSp modSp mod">
        <pc:chgData name="Leanne Manning" userId="730c7ce9-f6b4-453e-88a2-34d7f1a5ff9e" providerId="ADAL" clId="{8CDD1D14-E679-4D8B-9F79-A7B46C05D1E3}" dt="2025-05-13T04:39:52.789" v="4" actId="1076"/>
        <pc:sldMkLst>
          <pc:docMk/>
          <pc:sldMk cId="677954520" sldId="337"/>
        </pc:sldMkLst>
        <pc:picChg chg="add mod">
          <ac:chgData name="Leanne Manning" userId="730c7ce9-f6b4-453e-88a2-34d7f1a5ff9e" providerId="ADAL" clId="{8CDD1D14-E679-4D8B-9F79-A7B46C05D1E3}" dt="2025-05-13T04:39:52.789" v="4" actId="1076"/>
          <ac:picMkLst>
            <pc:docMk/>
            <pc:sldMk cId="677954520" sldId="337"/>
            <ac:picMk id="4" creationId="{535B7596-57C2-A9EB-1BE4-3B552A6F32F6}"/>
          </ac:picMkLst>
        </pc:picChg>
        <pc:picChg chg="del">
          <ac:chgData name="Leanne Manning" userId="730c7ce9-f6b4-453e-88a2-34d7f1a5ff9e" providerId="ADAL" clId="{8CDD1D14-E679-4D8B-9F79-A7B46C05D1E3}" dt="2025-05-13T04:39:42.107" v="0" actId="478"/>
          <ac:picMkLst>
            <pc:docMk/>
            <pc:sldMk cId="677954520" sldId="337"/>
            <ac:picMk id="6" creationId="{05FC0D4A-DDB3-04ED-27B8-7BF6E0E26B38}"/>
          </ac:picMkLst>
        </pc:picChg>
      </pc:sldChg>
    </pc:docChg>
  </pc:docChgLst>
  <pc:docChgLst>
    <pc:chgData name="Leanne Manning" userId="730c7ce9-f6b4-453e-88a2-34d7f1a5ff9e" providerId="ADAL" clId="{04FFD874-A61F-4A1D-BDCD-BA9E769586E4}"/>
    <pc:docChg chg="custSel addSld modSld sldOrd addMainMaster">
      <pc:chgData name="Leanne Manning" userId="730c7ce9-f6b4-453e-88a2-34d7f1a5ff9e" providerId="ADAL" clId="{04FFD874-A61F-4A1D-BDCD-BA9E769586E4}" dt="2025-03-25T21:41:14.586" v="97"/>
      <pc:docMkLst>
        <pc:docMk/>
      </pc:docMkLst>
      <pc:sldChg chg="add">
        <pc:chgData name="Leanne Manning" userId="730c7ce9-f6b4-453e-88a2-34d7f1a5ff9e" providerId="ADAL" clId="{04FFD874-A61F-4A1D-BDCD-BA9E769586E4}" dt="2025-03-25T21:41:14.586" v="97"/>
        <pc:sldMkLst>
          <pc:docMk/>
          <pc:sldMk cId="3804704660" sldId="260"/>
        </pc:sldMkLst>
      </pc:sldChg>
      <pc:sldChg chg="add">
        <pc:chgData name="Leanne Manning" userId="730c7ce9-f6b4-453e-88a2-34d7f1a5ff9e" providerId="ADAL" clId="{04FFD874-A61F-4A1D-BDCD-BA9E769586E4}" dt="2025-03-25T21:41:14.586" v="97"/>
        <pc:sldMkLst>
          <pc:docMk/>
          <pc:sldMk cId="2027801210" sldId="261"/>
        </pc:sldMkLst>
      </pc:sldChg>
      <pc:sldChg chg="add">
        <pc:chgData name="Leanne Manning" userId="730c7ce9-f6b4-453e-88a2-34d7f1a5ff9e" providerId="ADAL" clId="{04FFD874-A61F-4A1D-BDCD-BA9E769586E4}" dt="2025-03-25T21:41:14.586" v="97"/>
        <pc:sldMkLst>
          <pc:docMk/>
          <pc:sldMk cId="3101397612" sldId="274"/>
        </pc:sldMkLst>
      </pc:sldChg>
      <pc:sldChg chg="add">
        <pc:chgData name="Leanne Manning" userId="730c7ce9-f6b4-453e-88a2-34d7f1a5ff9e" providerId="ADAL" clId="{04FFD874-A61F-4A1D-BDCD-BA9E769586E4}" dt="2025-03-25T21:41:14.586" v="97"/>
        <pc:sldMkLst>
          <pc:docMk/>
          <pc:sldMk cId="4067590758" sldId="277"/>
        </pc:sldMkLst>
      </pc:sldChg>
      <pc:sldChg chg="add">
        <pc:chgData name="Leanne Manning" userId="730c7ce9-f6b4-453e-88a2-34d7f1a5ff9e" providerId="ADAL" clId="{04FFD874-A61F-4A1D-BDCD-BA9E769586E4}" dt="2025-03-25T21:41:14.586" v="97"/>
        <pc:sldMkLst>
          <pc:docMk/>
          <pc:sldMk cId="1169831013" sldId="278"/>
        </pc:sldMkLst>
      </pc:sldChg>
      <pc:sldChg chg="addSp delSp modSp new mod ord">
        <pc:chgData name="Leanne Manning" userId="730c7ce9-f6b4-453e-88a2-34d7f1a5ff9e" providerId="ADAL" clId="{04FFD874-A61F-4A1D-BDCD-BA9E769586E4}" dt="2025-03-25T08:29:00.635" v="73" actId="1076"/>
        <pc:sldMkLst>
          <pc:docMk/>
          <pc:sldMk cId="129777823" sldId="391"/>
        </pc:sldMkLst>
      </pc:sldChg>
      <pc:sldChg chg="addSp modSp new mod">
        <pc:chgData name="Leanne Manning" userId="730c7ce9-f6b4-453e-88a2-34d7f1a5ff9e" providerId="ADAL" clId="{04FFD874-A61F-4A1D-BDCD-BA9E769586E4}" dt="2025-03-25T08:48:48.595" v="94" actId="1076"/>
        <pc:sldMkLst>
          <pc:docMk/>
          <pc:sldMk cId="368859131" sldId="392"/>
        </pc:sldMkLst>
      </pc:sldChg>
      <pc:sldChg chg="add">
        <pc:chgData name="Leanne Manning" userId="730c7ce9-f6b4-453e-88a2-34d7f1a5ff9e" providerId="ADAL" clId="{04FFD874-A61F-4A1D-BDCD-BA9E769586E4}" dt="2025-03-25T21:31:26.545" v="96"/>
        <pc:sldMkLst>
          <pc:docMk/>
          <pc:sldMk cId="810739275" sldId="393"/>
        </pc:sldMkLst>
      </pc:sldChg>
      <pc:sldChg chg="add">
        <pc:chgData name="Leanne Manning" userId="730c7ce9-f6b4-453e-88a2-34d7f1a5ff9e" providerId="ADAL" clId="{04FFD874-A61F-4A1D-BDCD-BA9E769586E4}" dt="2025-03-25T21:31:26.545" v="96"/>
        <pc:sldMkLst>
          <pc:docMk/>
          <pc:sldMk cId="425344502" sldId="394"/>
        </pc:sldMkLst>
      </pc:sldChg>
      <pc:sldChg chg="add">
        <pc:chgData name="Leanne Manning" userId="730c7ce9-f6b4-453e-88a2-34d7f1a5ff9e" providerId="ADAL" clId="{04FFD874-A61F-4A1D-BDCD-BA9E769586E4}" dt="2025-03-25T21:31:26.545" v="96"/>
        <pc:sldMkLst>
          <pc:docMk/>
          <pc:sldMk cId="276944936" sldId="395"/>
        </pc:sldMkLst>
      </pc:sldChg>
      <pc:sldChg chg="add">
        <pc:chgData name="Leanne Manning" userId="730c7ce9-f6b4-453e-88a2-34d7f1a5ff9e" providerId="ADAL" clId="{04FFD874-A61F-4A1D-BDCD-BA9E769586E4}" dt="2025-03-25T21:31:26.545" v="96"/>
        <pc:sldMkLst>
          <pc:docMk/>
          <pc:sldMk cId="3869132372" sldId="396"/>
        </pc:sldMkLst>
      </pc:sldChg>
      <pc:sldChg chg="add">
        <pc:chgData name="Leanne Manning" userId="730c7ce9-f6b4-453e-88a2-34d7f1a5ff9e" providerId="ADAL" clId="{04FFD874-A61F-4A1D-BDCD-BA9E769586E4}" dt="2025-03-25T21:31:26.545" v="96"/>
        <pc:sldMkLst>
          <pc:docMk/>
          <pc:sldMk cId="1403437018" sldId="397"/>
        </pc:sldMkLst>
      </pc:sldChg>
      <pc:sldChg chg="add">
        <pc:chgData name="Leanne Manning" userId="730c7ce9-f6b4-453e-88a2-34d7f1a5ff9e" providerId="ADAL" clId="{04FFD874-A61F-4A1D-BDCD-BA9E769586E4}" dt="2025-03-25T21:31:26.545" v="96"/>
        <pc:sldMkLst>
          <pc:docMk/>
          <pc:sldMk cId="2594374849" sldId="398"/>
        </pc:sldMkLst>
      </pc:sldChg>
      <pc:sldChg chg="add">
        <pc:chgData name="Leanne Manning" userId="730c7ce9-f6b4-453e-88a2-34d7f1a5ff9e" providerId="ADAL" clId="{04FFD874-A61F-4A1D-BDCD-BA9E769586E4}" dt="2025-03-25T21:31:26.545" v="96"/>
        <pc:sldMkLst>
          <pc:docMk/>
          <pc:sldMk cId="90010505" sldId="399"/>
        </pc:sldMkLst>
      </pc:sldChg>
      <pc:sldChg chg="add">
        <pc:chgData name="Leanne Manning" userId="730c7ce9-f6b4-453e-88a2-34d7f1a5ff9e" providerId="ADAL" clId="{04FFD874-A61F-4A1D-BDCD-BA9E769586E4}" dt="2025-03-25T21:31:26.545" v="96"/>
        <pc:sldMkLst>
          <pc:docMk/>
          <pc:sldMk cId="3828699328" sldId="400"/>
        </pc:sldMkLst>
      </pc:sldChg>
      <pc:sldChg chg="add">
        <pc:chgData name="Leanne Manning" userId="730c7ce9-f6b4-453e-88a2-34d7f1a5ff9e" providerId="ADAL" clId="{04FFD874-A61F-4A1D-BDCD-BA9E769586E4}" dt="2025-03-25T21:31:26.545" v="96"/>
        <pc:sldMkLst>
          <pc:docMk/>
          <pc:sldMk cId="1150952222" sldId="401"/>
        </pc:sldMkLst>
      </pc:sldChg>
      <pc:sldChg chg="add">
        <pc:chgData name="Leanne Manning" userId="730c7ce9-f6b4-453e-88a2-34d7f1a5ff9e" providerId="ADAL" clId="{04FFD874-A61F-4A1D-BDCD-BA9E769586E4}" dt="2025-03-25T21:31:26.545" v="96"/>
        <pc:sldMkLst>
          <pc:docMk/>
          <pc:sldMk cId="530561" sldId="402"/>
        </pc:sldMkLst>
      </pc:sldChg>
      <pc:sldChg chg="add">
        <pc:chgData name="Leanne Manning" userId="730c7ce9-f6b4-453e-88a2-34d7f1a5ff9e" providerId="ADAL" clId="{04FFD874-A61F-4A1D-BDCD-BA9E769586E4}" dt="2025-03-25T21:31:26.545" v="96"/>
        <pc:sldMkLst>
          <pc:docMk/>
          <pc:sldMk cId="3660000766" sldId="403"/>
        </pc:sldMkLst>
      </pc:sldChg>
      <pc:sldChg chg="add">
        <pc:chgData name="Leanne Manning" userId="730c7ce9-f6b4-453e-88a2-34d7f1a5ff9e" providerId="ADAL" clId="{04FFD874-A61F-4A1D-BDCD-BA9E769586E4}" dt="2025-03-25T21:31:26.545" v="96"/>
        <pc:sldMkLst>
          <pc:docMk/>
          <pc:sldMk cId="2100973290" sldId="404"/>
        </pc:sldMkLst>
      </pc:sldChg>
      <pc:sldMasterChg chg="add addSldLayout">
        <pc:chgData name="Leanne Manning" userId="730c7ce9-f6b4-453e-88a2-34d7f1a5ff9e" providerId="ADAL" clId="{04FFD874-A61F-4A1D-BDCD-BA9E769586E4}" dt="2025-03-25T21:31:26.544" v="95" actId="27028"/>
        <pc:sldMasterMkLst>
          <pc:docMk/>
          <pc:sldMasterMk cId="2533986706" sldId="2147483666"/>
        </pc:sldMasterMkLst>
        <pc:sldLayoutChg chg="add">
          <pc:chgData name="Leanne Manning" userId="730c7ce9-f6b4-453e-88a2-34d7f1a5ff9e" providerId="ADAL" clId="{04FFD874-A61F-4A1D-BDCD-BA9E769586E4}" dt="2025-03-25T21:31:26.544" v="95" actId="27028"/>
          <pc:sldLayoutMkLst>
            <pc:docMk/>
            <pc:sldMasterMk cId="2533986706" sldId="2147483666"/>
            <pc:sldLayoutMk cId="789008366" sldId="2147483667"/>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4228688457" sldId="2147483668"/>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814128052" sldId="2147483669"/>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1657710460" sldId="2147483670"/>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347665882" sldId="2147483671"/>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3417511618" sldId="2147483672"/>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4103115783" sldId="2147483673"/>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2060935477" sldId="2147483674"/>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1871543565" sldId="2147483675"/>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836322674" sldId="2147483676"/>
          </pc:sldLayoutMkLst>
        </pc:sldLayoutChg>
        <pc:sldLayoutChg chg="add">
          <pc:chgData name="Leanne Manning" userId="730c7ce9-f6b4-453e-88a2-34d7f1a5ff9e" providerId="ADAL" clId="{04FFD874-A61F-4A1D-BDCD-BA9E769586E4}" dt="2025-03-25T21:31:26.544" v="95" actId="27028"/>
          <pc:sldLayoutMkLst>
            <pc:docMk/>
            <pc:sldMasterMk cId="2533986706" sldId="2147483666"/>
            <pc:sldLayoutMk cId="1266219502" sldId="2147483677"/>
          </pc:sldLayoutMkLst>
        </pc:sldLayoutChg>
      </pc:sldMasterChg>
    </pc:docChg>
  </pc:docChgLst>
  <pc:docChgLst>
    <pc:chgData name="Leanne Manning" userId="730c7ce9-f6b4-453e-88a2-34d7f1a5ff9e" providerId="ADAL" clId="{157D0AA1-3370-43B7-83F2-4D1563E77E02}"/>
    <pc:docChg chg="custSel addSld delSld modSld sldOrd addMainMaster modMainMaster">
      <pc:chgData name="Leanne Manning" userId="730c7ce9-f6b4-453e-88a2-34d7f1a5ff9e" providerId="ADAL" clId="{157D0AA1-3370-43B7-83F2-4D1563E77E02}" dt="2025-05-13T06:31:55.938" v="52"/>
      <pc:docMkLst>
        <pc:docMk/>
      </pc:docMkLst>
      <pc:sldChg chg="add ord">
        <pc:chgData name="Leanne Manning" userId="730c7ce9-f6b4-453e-88a2-34d7f1a5ff9e" providerId="ADAL" clId="{157D0AA1-3370-43B7-83F2-4D1563E77E02}" dt="2025-05-13T06:13:26.675" v="5"/>
        <pc:sldMkLst>
          <pc:docMk/>
          <pc:sldMk cId="1078065448" sldId="338"/>
        </pc:sldMkLst>
      </pc:sldChg>
      <pc:sldChg chg="add ord">
        <pc:chgData name="Leanne Manning" userId="730c7ce9-f6b4-453e-88a2-34d7f1a5ff9e" providerId="ADAL" clId="{157D0AA1-3370-43B7-83F2-4D1563E77E02}" dt="2025-05-13T06:28:43.593" v="50"/>
        <pc:sldMkLst>
          <pc:docMk/>
          <pc:sldMk cId="3846391031" sldId="339"/>
        </pc:sldMkLst>
      </pc:sldChg>
      <pc:sldChg chg="add">
        <pc:chgData name="Leanne Manning" userId="730c7ce9-f6b4-453e-88a2-34d7f1a5ff9e" providerId="ADAL" clId="{157D0AA1-3370-43B7-83F2-4D1563E77E02}" dt="2025-05-13T06:14:03.185" v="7"/>
        <pc:sldMkLst>
          <pc:docMk/>
          <pc:sldMk cId="2845220542" sldId="340"/>
        </pc:sldMkLst>
      </pc:sldChg>
      <pc:sldChg chg="add">
        <pc:chgData name="Leanne Manning" userId="730c7ce9-f6b4-453e-88a2-34d7f1a5ff9e" providerId="ADAL" clId="{157D0AA1-3370-43B7-83F2-4D1563E77E02}" dt="2025-05-13T06:14:03.185" v="7"/>
        <pc:sldMkLst>
          <pc:docMk/>
          <pc:sldMk cId="698741697" sldId="341"/>
        </pc:sldMkLst>
      </pc:sldChg>
      <pc:sldChg chg="add ord">
        <pc:chgData name="Leanne Manning" userId="730c7ce9-f6b4-453e-88a2-34d7f1a5ff9e" providerId="ADAL" clId="{157D0AA1-3370-43B7-83F2-4D1563E77E02}" dt="2025-05-13T06:15:37.985" v="17"/>
        <pc:sldMkLst>
          <pc:docMk/>
          <pc:sldMk cId="2815102952" sldId="342"/>
        </pc:sldMkLst>
      </pc:sldChg>
      <pc:sldChg chg="addSp delSp modSp new mod">
        <pc:chgData name="Leanne Manning" userId="730c7ce9-f6b4-453e-88a2-34d7f1a5ff9e" providerId="ADAL" clId="{157D0AA1-3370-43B7-83F2-4D1563E77E02}" dt="2025-05-13T06:19:42.125" v="23" actId="1076"/>
        <pc:sldMkLst>
          <pc:docMk/>
          <pc:sldMk cId="3208441529" sldId="343"/>
        </pc:sldMkLst>
        <pc:spChg chg="del">
          <ac:chgData name="Leanne Manning" userId="730c7ce9-f6b4-453e-88a2-34d7f1a5ff9e" providerId="ADAL" clId="{157D0AA1-3370-43B7-83F2-4D1563E77E02}" dt="2025-05-13T06:19:11.794" v="20" actId="478"/>
          <ac:spMkLst>
            <pc:docMk/>
            <pc:sldMk cId="3208441529" sldId="343"/>
            <ac:spMk id="2" creationId="{2DABB692-1DA8-57CB-259F-51052AB6356C}"/>
          </ac:spMkLst>
        </pc:spChg>
        <pc:spChg chg="del">
          <ac:chgData name="Leanne Manning" userId="730c7ce9-f6b4-453e-88a2-34d7f1a5ff9e" providerId="ADAL" clId="{157D0AA1-3370-43B7-83F2-4D1563E77E02}" dt="2025-05-13T06:19:06.989" v="19" actId="478"/>
          <ac:spMkLst>
            <pc:docMk/>
            <pc:sldMk cId="3208441529" sldId="343"/>
            <ac:spMk id="3" creationId="{54C0EB68-23C2-F0FD-82E1-3FA765CBFEDA}"/>
          </ac:spMkLst>
        </pc:spChg>
        <pc:picChg chg="add mod">
          <ac:chgData name="Leanne Manning" userId="730c7ce9-f6b4-453e-88a2-34d7f1a5ff9e" providerId="ADAL" clId="{157D0AA1-3370-43B7-83F2-4D1563E77E02}" dt="2025-05-13T06:19:42.125" v="23" actId="1076"/>
          <ac:picMkLst>
            <pc:docMk/>
            <pc:sldMk cId="3208441529" sldId="343"/>
            <ac:picMk id="5" creationId="{554F4E3F-3FFC-60B8-61D3-B0D6010337AB}"/>
          </ac:picMkLst>
        </pc:picChg>
      </pc:sldChg>
      <pc:sldChg chg="add del">
        <pc:chgData name="Leanne Manning" userId="730c7ce9-f6b4-453e-88a2-34d7f1a5ff9e" providerId="ADAL" clId="{157D0AA1-3370-43B7-83F2-4D1563E77E02}" dt="2025-05-13T06:27:30.765" v="48" actId="47"/>
        <pc:sldMkLst>
          <pc:docMk/>
          <pc:sldMk cId="1564688698" sldId="344"/>
        </pc:sldMkLst>
      </pc:sldChg>
      <pc:sldChg chg="add">
        <pc:chgData name="Leanne Manning" userId="730c7ce9-f6b4-453e-88a2-34d7f1a5ff9e" providerId="ADAL" clId="{157D0AA1-3370-43B7-83F2-4D1563E77E02}" dt="2025-05-13T06:25:15.881" v="27"/>
        <pc:sldMkLst>
          <pc:docMk/>
          <pc:sldMk cId="2236772692" sldId="345"/>
        </pc:sldMkLst>
      </pc:sldChg>
      <pc:sldChg chg="add">
        <pc:chgData name="Leanne Manning" userId="730c7ce9-f6b4-453e-88a2-34d7f1a5ff9e" providerId="ADAL" clId="{157D0AA1-3370-43B7-83F2-4D1563E77E02}" dt="2025-05-13T06:25:18.774" v="29"/>
        <pc:sldMkLst>
          <pc:docMk/>
          <pc:sldMk cId="3668580111" sldId="346"/>
        </pc:sldMkLst>
      </pc:sldChg>
      <pc:sldChg chg="add">
        <pc:chgData name="Leanne Manning" userId="730c7ce9-f6b4-453e-88a2-34d7f1a5ff9e" providerId="ADAL" clId="{157D0AA1-3370-43B7-83F2-4D1563E77E02}" dt="2025-05-13T06:25:21.950" v="31"/>
        <pc:sldMkLst>
          <pc:docMk/>
          <pc:sldMk cId="3101143792" sldId="347"/>
        </pc:sldMkLst>
      </pc:sldChg>
      <pc:sldChg chg="add">
        <pc:chgData name="Leanne Manning" userId="730c7ce9-f6b4-453e-88a2-34d7f1a5ff9e" providerId="ADAL" clId="{157D0AA1-3370-43B7-83F2-4D1563E77E02}" dt="2025-05-13T06:25:25.047" v="33"/>
        <pc:sldMkLst>
          <pc:docMk/>
          <pc:sldMk cId="608328976" sldId="348"/>
        </pc:sldMkLst>
      </pc:sldChg>
      <pc:sldChg chg="add">
        <pc:chgData name="Leanne Manning" userId="730c7ce9-f6b4-453e-88a2-34d7f1a5ff9e" providerId="ADAL" clId="{157D0AA1-3370-43B7-83F2-4D1563E77E02}" dt="2025-05-13T06:25:28.630" v="35"/>
        <pc:sldMkLst>
          <pc:docMk/>
          <pc:sldMk cId="989390497" sldId="349"/>
        </pc:sldMkLst>
      </pc:sldChg>
      <pc:sldChg chg="add">
        <pc:chgData name="Leanne Manning" userId="730c7ce9-f6b4-453e-88a2-34d7f1a5ff9e" providerId="ADAL" clId="{157D0AA1-3370-43B7-83F2-4D1563E77E02}" dt="2025-05-13T06:25:30.973" v="37"/>
        <pc:sldMkLst>
          <pc:docMk/>
          <pc:sldMk cId="1758676005" sldId="350"/>
        </pc:sldMkLst>
      </pc:sldChg>
      <pc:sldChg chg="add">
        <pc:chgData name="Leanne Manning" userId="730c7ce9-f6b4-453e-88a2-34d7f1a5ff9e" providerId="ADAL" clId="{157D0AA1-3370-43B7-83F2-4D1563E77E02}" dt="2025-05-13T06:25:33.731" v="39"/>
        <pc:sldMkLst>
          <pc:docMk/>
          <pc:sldMk cId="4123188742" sldId="351"/>
        </pc:sldMkLst>
      </pc:sldChg>
      <pc:sldChg chg="add">
        <pc:chgData name="Leanne Manning" userId="730c7ce9-f6b4-453e-88a2-34d7f1a5ff9e" providerId="ADAL" clId="{157D0AA1-3370-43B7-83F2-4D1563E77E02}" dt="2025-05-13T06:25:36.702" v="41"/>
        <pc:sldMkLst>
          <pc:docMk/>
          <pc:sldMk cId="2186457909" sldId="352"/>
        </pc:sldMkLst>
      </pc:sldChg>
      <pc:sldChg chg="add">
        <pc:chgData name="Leanne Manning" userId="730c7ce9-f6b4-453e-88a2-34d7f1a5ff9e" providerId="ADAL" clId="{157D0AA1-3370-43B7-83F2-4D1563E77E02}" dt="2025-05-13T06:25:39.464" v="43"/>
        <pc:sldMkLst>
          <pc:docMk/>
          <pc:sldMk cId="1082000256" sldId="353"/>
        </pc:sldMkLst>
      </pc:sldChg>
      <pc:sldChg chg="add">
        <pc:chgData name="Leanne Manning" userId="730c7ce9-f6b4-453e-88a2-34d7f1a5ff9e" providerId="ADAL" clId="{157D0AA1-3370-43B7-83F2-4D1563E77E02}" dt="2025-05-13T06:25:42.572" v="45"/>
        <pc:sldMkLst>
          <pc:docMk/>
          <pc:sldMk cId="2271720210" sldId="354"/>
        </pc:sldMkLst>
      </pc:sldChg>
      <pc:sldChg chg="add">
        <pc:chgData name="Leanne Manning" userId="730c7ce9-f6b4-453e-88a2-34d7f1a5ff9e" providerId="ADAL" clId="{157D0AA1-3370-43B7-83F2-4D1563E77E02}" dt="2025-05-13T06:25:45.993" v="47"/>
        <pc:sldMkLst>
          <pc:docMk/>
          <pc:sldMk cId="686498958" sldId="355"/>
        </pc:sldMkLst>
      </pc:sldChg>
      <pc:sldChg chg="add">
        <pc:chgData name="Leanne Manning" userId="730c7ce9-f6b4-453e-88a2-34d7f1a5ff9e" providerId="ADAL" clId="{157D0AA1-3370-43B7-83F2-4D1563E77E02}" dt="2025-05-13T06:31:55.938" v="52"/>
        <pc:sldMkLst>
          <pc:docMk/>
          <pc:sldMk cId="3985170320" sldId="356"/>
        </pc:sldMkLst>
      </pc:sldChg>
      <pc:sldMasterChg chg="modSldLayout">
        <pc:chgData name="Leanne Manning" userId="730c7ce9-f6b4-453e-88a2-34d7f1a5ff9e" providerId="ADAL" clId="{157D0AA1-3370-43B7-83F2-4D1563E77E02}" dt="2025-05-13T06:13:04.853" v="0" actId="27028"/>
        <pc:sldMasterMkLst>
          <pc:docMk/>
          <pc:sldMasterMk cId="2946213098" sldId="2147483660"/>
        </pc:sldMasterMkLst>
        <pc:sldLayoutChg chg="replId">
          <pc:chgData name="Leanne Manning" userId="730c7ce9-f6b4-453e-88a2-34d7f1a5ff9e" providerId="ADAL" clId="{157D0AA1-3370-43B7-83F2-4D1563E77E02}" dt="2025-05-13T06:13:04.853" v="0" actId="27028"/>
          <pc:sldLayoutMkLst>
            <pc:docMk/>
            <pc:sldMasterMk cId="2946213098" sldId="2147483660"/>
            <pc:sldLayoutMk cId="690904376" sldId="2147483694"/>
          </pc:sldLayoutMkLst>
        </pc:sldLayoutChg>
      </pc:sldMasterChg>
      <pc:sldMasterChg chg="add addSldLayout">
        <pc:chgData name="Leanne Manning" userId="730c7ce9-f6b4-453e-88a2-34d7f1a5ff9e" providerId="ADAL" clId="{157D0AA1-3370-43B7-83F2-4D1563E77E02}" dt="2025-05-13T06:25:39.461" v="42" actId="27028"/>
        <pc:sldMasterMkLst>
          <pc:docMk/>
          <pc:sldMasterMk cId="4043612667" sldId="2147483693"/>
        </pc:sldMasterMkLst>
        <pc:sldLayoutChg chg="add">
          <pc:chgData name="Leanne Manning" userId="730c7ce9-f6b4-453e-88a2-34d7f1a5ff9e" providerId="ADAL" clId="{157D0AA1-3370-43B7-83F2-4D1563E77E02}" dt="2025-05-13T06:25:39.461" v="42" actId="27028"/>
          <pc:sldLayoutMkLst>
            <pc:docMk/>
            <pc:sldMasterMk cId="4043612667" sldId="2147483693"/>
            <pc:sldLayoutMk cId="332499039" sldId="2147483696"/>
          </pc:sldLayoutMkLst>
        </pc:sldLayoutChg>
      </pc:sldMasterChg>
      <pc:sldMasterChg chg="add addSldLayout">
        <pc:chgData name="Leanne Manning" userId="730c7ce9-f6b4-453e-88a2-34d7f1a5ff9e" providerId="ADAL" clId="{157D0AA1-3370-43B7-83F2-4D1563E77E02}" dt="2025-05-13T06:25:45.989" v="46" actId="27028"/>
        <pc:sldMasterMkLst>
          <pc:docMk/>
          <pc:sldMasterMk cId="3165350523" sldId="2147483700"/>
        </pc:sldMasterMkLst>
        <pc:sldLayoutChg chg="add">
          <pc:chgData name="Leanne Manning" userId="730c7ce9-f6b4-453e-88a2-34d7f1a5ff9e" providerId="ADAL" clId="{157D0AA1-3370-43B7-83F2-4D1563E77E02}" dt="2025-05-13T06:25:15.878" v="26" actId="27028"/>
          <pc:sldLayoutMkLst>
            <pc:docMk/>
            <pc:sldMasterMk cId="3165350523" sldId="2147483700"/>
            <pc:sldLayoutMk cId="2075056496" sldId="2147483704"/>
          </pc:sldLayoutMkLst>
        </pc:sldLayoutChg>
        <pc:sldLayoutChg chg="add">
          <pc:chgData name="Leanne Manning" userId="730c7ce9-f6b4-453e-88a2-34d7f1a5ff9e" providerId="ADAL" clId="{157D0AA1-3370-43B7-83F2-4D1563E77E02}" dt="2025-05-13T06:25:33.727" v="38" actId="27028"/>
          <pc:sldLayoutMkLst>
            <pc:docMk/>
            <pc:sldMasterMk cId="3165350523" sldId="2147483700"/>
            <pc:sldLayoutMk cId="1746505412" sldId="2147483705"/>
          </pc:sldLayoutMkLst>
        </pc:sldLayoutChg>
        <pc:sldLayoutChg chg="add">
          <pc:chgData name="Leanne Manning" userId="730c7ce9-f6b4-453e-88a2-34d7f1a5ff9e" providerId="ADAL" clId="{157D0AA1-3370-43B7-83F2-4D1563E77E02}" dt="2025-05-13T06:25:45.989" v="46" actId="27028"/>
          <pc:sldLayoutMkLst>
            <pc:docMk/>
            <pc:sldMasterMk cId="3165350523" sldId="2147483700"/>
            <pc:sldLayoutMk cId="1151421029" sldId="2147483769"/>
          </pc:sldLayoutMkLst>
        </pc:sldLayoutChg>
      </pc:sldMasterChg>
      <pc:sldMasterChg chg="add replId addSldLayout">
        <pc:chgData name="Leanne Manning" userId="730c7ce9-f6b4-453e-88a2-34d7f1a5ff9e" providerId="ADAL" clId="{157D0AA1-3370-43B7-83F2-4D1563E77E02}" dt="2025-05-13T06:25:39.461" v="42" actId="27028"/>
        <pc:sldMasterMkLst>
          <pc:docMk/>
          <pc:sldMasterMk cId="0" sldId="2147483706"/>
        </pc:sldMasterMkLst>
        <pc:sldLayoutChg chg="add">
          <pc:chgData name="Leanne Manning" userId="730c7ce9-f6b4-453e-88a2-34d7f1a5ff9e" providerId="ADAL" clId="{157D0AA1-3370-43B7-83F2-4D1563E77E02}" dt="2025-05-13T06:14:03.180" v="6" actId="27028"/>
          <pc:sldLayoutMkLst>
            <pc:docMk/>
            <pc:sldMasterMk cId="0" sldId="2147483706"/>
            <pc:sldLayoutMk cId="0" sldId="2147483661"/>
          </pc:sldLayoutMkLst>
        </pc:sldLayoutChg>
        <pc:sldLayoutChg chg="add">
          <pc:chgData name="Leanne Manning" userId="730c7ce9-f6b4-453e-88a2-34d7f1a5ff9e" providerId="ADAL" clId="{157D0AA1-3370-43B7-83F2-4D1563E77E02}" dt="2025-05-13T06:13:04.853" v="0" actId="27028"/>
          <pc:sldLayoutMkLst>
            <pc:docMk/>
            <pc:sldMasterMk cId="0" sldId="2147483706"/>
            <pc:sldLayoutMk cId="0" sldId="2147483662"/>
          </pc:sldLayoutMkLst>
        </pc:sldLayoutChg>
        <pc:sldLayoutChg chg="add">
          <pc:chgData name="Leanne Manning" userId="730c7ce9-f6b4-453e-88a2-34d7f1a5ff9e" providerId="ADAL" clId="{157D0AA1-3370-43B7-83F2-4D1563E77E02}" dt="2025-05-13T06:14:03.180" v="6" actId="27028"/>
          <pc:sldLayoutMkLst>
            <pc:docMk/>
            <pc:sldMasterMk cId="0" sldId="2147483706"/>
            <pc:sldLayoutMk cId="0" sldId="2147483663"/>
          </pc:sldLayoutMkLst>
        </pc:sldLayoutChg>
        <pc:sldLayoutChg chg="add">
          <pc:chgData name="Leanne Manning" userId="730c7ce9-f6b4-453e-88a2-34d7f1a5ff9e" providerId="ADAL" clId="{157D0AA1-3370-43B7-83F2-4D1563E77E02}" dt="2025-05-13T06:14:03.180" v="6" actId="27028"/>
          <pc:sldLayoutMkLst>
            <pc:docMk/>
            <pc:sldMasterMk cId="0" sldId="2147483706"/>
            <pc:sldLayoutMk cId="0" sldId="2147483664"/>
          </pc:sldLayoutMkLst>
        </pc:sldLayoutChg>
        <pc:sldLayoutChg chg="add">
          <pc:chgData name="Leanne Manning" userId="730c7ce9-f6b4-453e-88a2-34d7f1a5ff9e" providerId="ADAL" clId="{157D0AA1-3370-43B7-83F2-4D1563E77E02}" dt="2025-05-13T06:14:03.180" v="6" actId="27028"/>
          <pc:sldLayoutMkLst>
            <pc:docMk/>
            <pc:sldMasterMk cId="0" sldId="2147483706"/>
            <pc:sldLayoutMk cId="0" sldId="214748369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35600" cy="337646"/>
          </a:xfrm>
          <a:prstGeom prst="rect">
            <a:avLst/>
          </a:prstGeom>
        </p:spPr>
        <p:txBody>
          <a:bodyPr vert="horz" lIns="82662" tIns="41331" rIns="82662" bIns="41331" rtlCol="0"/>
          <a:lstStyle>
            <a:lvl1pPr algn="l">
              <a:defRPr sz="1100"/>
            </a:lvl1pPr>
          </a:lstStyle>
          <a:p>
            <a:endParaRPr lang="en-NL"/>
          </a:p>
        </p:txBody>
      </p:sp>
      <p:sp>
        <p:nvSpPr>
          <p:cNvPr id="3" name="Date Placeholder 2"/>
          <p:cNvSpPr>
            <a:spLocks noGrp="1"/>
          </p:cNvSpPr>
          <p:nvPr>
            <p:ph type="dt" idx="1"/>
          </p:nvPr>
        </p:nvSpPr>
        <p:spPr>
          <a:xfrm>
            <a:off x="5537187" y="0"/>
            <a:ext cx="4234149" cy="337646"/>
          </a:xfrm>
          <a:prstGeom prst="rect">
            <a:avLst/>
          </a:prstGeom>
        </p:spPr>
        <p:txBody>
          <a:bodyPr vert="horz" lIns="82662" tIns="41331" rIns="82662" bIns="41331" rtlCol="0"/>
          <a:lstStyle>
            <a:lvl1pPr algn="r">
              <a:defRPr sz="1100"/>
            </a:lvl1pPr>
          </a:lstStyle>
          <a:p>
            <a:fld id="{56BB7644-2493-2241-BDC4-66C24A3177B4}" type="datetimeFigureOut">
              <a:rPr lang="en-NL" smtClean="0"/>
              <a:t>05/15/2025</a:t>
            </a:fld>
            <a:endParaRPr lang="en-NL"/>
          </a:p>
        </p:txBody>
      </p:sp>
      <p:sp>
        <p:nvSpPr>
          <p:cNvPr id="4" name="Slide Image Placeholder 3"/>
          <p:cNvSpPr>
            <a:spLocks noGrp="1" noRot="1" noChangeAspect="1"/>
          </p:cNvSpPr>
          <p:nvPr>
            <p:ph type="sldImg" idx="2"/>
          </p:nvPr>
        </p:nvSpPr>
        <p:spPr>
          <a:xfrm>
            <a:off x="3281363" y="841375"/>
            <a:ext cx="3211512" cy="2270125"/>
          </a:xfrm>
          <a:prstGeom prst="rect">
            <a:avLst/>
          </a:prstGeom>
          <a:noFill/>
          <a:ln w="12700">
            <a:solidFill>
              <a:prstClr val="black"/>
            </a:solidFill>
          </a:ln>
        </p:spPr>
        <p:txBody>
          <a:bodyPr vert="horz" lIns="82662" tIns="41331" rIns="82662" bIns="41331" rtlCol="0" anchor="ctr"/>
          <a:lstStyle/>
          <a:p>
            <a:endParaRPr lang="en-NL"/>
          </a:p>
        </p:txBody>
      </p:sp>
      <p:sp>
        <p:nvSpPr>
          <p:cNvPr id="5" name="Notes Placeholder 4"/>
          <p:cNvSpPr>
            <a:spLocks noGrp="1"/>
          </p:cNvSpPr>
          <p:nvPr>
            <p:ph type="body" sz="quarter" idx="3"/>
          </p:nvPr>
        </p:nvSpPr>
        <p:spPr>
          <a:xfrm>
            <a:off x="978004" y="3236592"/>
            <a:ext cx="7818230" cy="2647478"/>
          </a:xfrm>
          <a:prstGeom prst="rect">
            <a:avLst/>
          </a:prstGeom>
        </p:spPr>
        <p:txBody>
          <a:bodyPr vert="horz" lIns="82662" tIns="41331" rIns="82662" bIns="41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1" y="6387005"/>
            <a:ext cx="4235600" cy="337645"/>
          </a:xfrm>
          <a:prstGeom prst="rect">
            <a:avLst/>
          </a:prstGeom>
        </p:spPr>
        <p:txBody>
          <a:bodyPr vert="horz" lIns="82662" tIns="41331" rIns="82662" bIns="41331" rtlCol="0" anchor="b"/>
          <a:lstStyle>
            <a:lvl1pPr algn="l">
              <a:defRPr sz="1100"/>
            </a:lvl1pPr>
          </a:lstStyle>
          <a:p>
            <a:endParaRPr lang="en-NL"/>
          </a:p>
        </p:txBody>
      </p:sp>
      <p:sp>
        <p:nvSpPr>
          <p:cNvPr id="7" name="Slide Number Placeholder 6"/>
          <p:cNvSpPr>
            <a:spLocks noGrp="1"/>
          </p:cNvSpPr>
          <p:nvPr>
            <p:ph type="sldNum" sz="quarter" idx="5"/>
          </p:nvPr>
        </p:nvSpPr>
        <p:spPr>
          <a:xfrm>
            <a:off x="5537187" y="6387005"/>
            <a:ext cx="4234149" cy="337645"/>
          </a:xfrm>
          <a:prstGeom prst="rect">
            <a:avLst/>
          </a:prstGeom>
        </p:spPr>
        <p:txBody>
          <a:bodyPr vert="horz" lIns="82662" tIns="41331" rIns="82662" bIns="41331" rtlCol="0" anchor="b"/>
          <a:lstStyle>
            <a:lvl1pPr algn="r">
              <a:defRPr sz="1100"/>
            </a:lvl1pPr>
          </a:lstStyle>
          <a:p>
            <a:fld id="{ED2E3666-A679-C247-8DAA-D73434D08B07}" type="slidenum">
              <a:rPr lang="en-NL" smtClean="0"/>
              <a:t>‹#›</a:t>
            </a:fld>
            <a:endParaRPr lang="en-NL"/>
          </a:p>
        </p:txBody>
      </p:sp>
    </p:spTree>
    <p:extLst>
      <p:ext uri="{BB962C8B-B14F-4D97-AF65-F5344CB8AC3E}">
        <p14:creationId xmlns:p14="http://schemas.microsoft.com/office/powerpoint/2010/main" val="3623899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25" y="1017588"/>
            <a:ext cx="3887788" cy="2746375"/>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6487D110-BD18-446F-B922-E0E8690948A7}" type="slidenum">
              <a:rPr lang="en-AU" smtClean="0"/>
              <a:t>5</a:t>
            </a:fld>
            <a:endParaRPr lang="en-AU"/>
          </a:p>
        </p:txBody>
      </p:sp>
    </p:spTree>
    <p:extLst>
      <p:ext uri="{BB962C8B-B14F-4D97-AF65-F5344CB8AC3E}">
        <p14:creationId xmlns:p14="http://schemas.microsoft.com/office/powerpoint/2010/main" val="1723796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C9F77BD-321F-7347-A414-3DE30EA03450}" type="slidenum">
              <a:rPr lang="en-US" smtClean="0"/>
              <a:t>24</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C9F77BD-321F-7347-A414-3DE30EA03450}" type="slidenum">
              <a:rPr lang="en-US" smtClean="0"/>
              <a:t>25</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C9F77BD-321F-7347-A414-3DE30EA03450}" type="slidenum">
              <a:rPr lang="en-US" smtClean="0"/>
              <a:t>26</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C9F77BD-321F-7347-A414-3DE30EA03450}" type="slidenum">
              <a:rPr lang="en-US" smtClean="0"/>
              <a:t>34</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2563" y="763588"/>
            <a:ext cx="2913062" cy="2058987"/>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26618">
              <a:defRPr/>
            </a:pPr>
            <a:fld id="{CC9F77BD-321F-7347-A414-3DE30EA03450}" type="slidenum">
              <a:rPr lang="en-US"/>
              <a:pPr defTabSz="826618">
                <a:defRPr/>
              </a:pPr>
              <a:t>49</a:t>
            </a:fld>
            <a:endParaRPr lang="en-US"/>
          </a:p>
        </p:txBody>
      </p:sp>
    </p:spTree>
    <p:extLst>
      <p:ext uri="{BB962C8B-B14F-4D97-AF65-F5344CB8AC3E}">
        <p14:creationId xmlns:p14="http://schemas.microsoft.com/office/powerpoint/2010/main" val="9926392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22563" y="763588"/>
            <a:ext cx="2913062" cy="2058987"/>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26618" rtl="0">
              <a:defRPr/>
            </a:pPr>
            <a:fld id="{CC9F77BD-321F-7347-A414-3DE30EA03450}" type="slidenum">
              <a:rPr lang="en-US">
                <a:latin typeface="Aptos" panose="02110004020202020204"/>
                <a:ea typeface="+mn-ea"/>
                <a:cs typeface="+mn-cs"/>
              </a:rPr>
              <a:pPr defTabSz="826618" rtl="0">
                <a:defRPr/>
              </a:pPr>
              <a:t>53</a:t>
            </a:fld>
            <a:endParaRPr lang="en-US">
              <a:latin typeface="Aptos" panose="02110004020202020204"/>
              <a:ea typeface="+mn-ea"/>
              <a:cs typeface="+mn-cs"/>
            </a:endParaRPr>
          </a:p>
        </p:txBody>
      </p:sp>
    </p:spTree>
    <p:extLst>
      <p:ext uri="{BB962C8B-B14F-4D97-AF65-F5344CB8AC3E}">
        <p14:creationId xmlns:p14="http://schemas.microsoft.com/office/powerpoint/2010/main" val="992639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56962-5276-2E1F-8601-6444BC0876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8958B1-4FA5-632B-DDCC-C7A57B1609A5}"/>
              </a:ext>
            </a:extLst>
          </p:cNvPr>
          <p:cNvSpPr>
            <a:spLocks noGrp="1" noRot="1" noChangeAspect="1"/>
          </p:cNvSpPr>
          <p:nvPr>
            <p:ph type="sldImg"/>
          </p:nvPr>
        </p:nvSpPr>
        <p:spPr>
          <a:xfrm>
            <a:off x="2722563" y="763588"/>
            <a:ext cx="2913062" cy="2058987"/>
          </a:xfrm>
        </p:spPr>
      </p:sp>
      <p:sp>
        <p:nvSpPr>
          <p:cNvPr id="3" name="Notes Placeholder 2">
            <a:extLst>
              <a:ext uri="{FF2B5EF4-FFF2-40B4-BE49-F238E27FC236}">
                <a16:creationId xmlns:a16="http://schemas.microsoft.com/office/drawing/2014/main" id="{EF6ADE6A-DFAB-FD84-F55E-629CEE601702}"/>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83E3FE7F-F981-1838-7BA5-AF815C110648}"/>
              </a:ext>
            </a:extLst>
          </p:cNvPr>
          <p:cNvSpPr>
            <a:spLocks noGrp="1"/>
          </p:cNvSpPr>
          <p:nvPr>
            <p:ph type="sldNum" sz="quarter" idx="5"/>
          </p:nvPr>
        </p:nvSpPr>
        <p:spPr/>
        <p:txBody>
          <a:bodyPr/>
          <a:lstStyle/>
          <a:p>
            <a:pPr defTabSz="826618" rtl="0">
              <a:defRPr/>
            </a:pPr>
            <a:fld id="{CC9F77BD-321F-7347-A414-3DE30EA03450}" type="slidenum">
              <a:rPr lang="en-US">
                <a:latin typeface="Aptos" panose="02110004020202020204"/>
                <a:ea typeface="+mn-ea"/>
                <a:cs typeface="+mn-cs"/>
              </a:rPr>
              <a:pPr defTabSz="826618" rtl="0">
                <a:defRPr/>
              </a:pPr>
              <a:t>54</a:t>
            </a:fld>
            <a:endParaRPr lang="en-US">
              <a:latin typeface="Aptos" panose="02110004020202020204"/>
              <a:ea typeface="+mn-ea"/>
              <a:cs typeface="+mn-cs"/>
            </a:endParaRPr>
          </a:p>
        </p:txBody>
      </p:sp>
    </p:spTree>
    <p:extLst>
      <p:ext uri="{BB962C8B-B14F-4D97-AF65-F5344CB8AC3E}">
        <p14:creationId xmlns:p14="http://schemas.microsoft.com/office/powerpoint/2010/main" val="1725203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1A0BB-A5D0-08F4-D778-4F9D5DFF1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377A9-6FAA-0E2B-C610-9D698F6449CA}"/>
              </a:ext>
            </a:extLst>
          </p:cNvPr>
          <p:cNvSpPr>
            <a:spLocks noGrp="1" noRot="1" noChangeAspect="1"/>
          </p:cNvSpPr>
          <p:nvPr>
            <p:ph type="sldImg"/>
          </p:nvPr>
        </p:nvSpPr>
        <p:spPr>
          <a:xfrm>
            <a:off x="2722563" y="763588"/>
            <a:ext cx="2913062" cy="2058987"/>
          </a:xfrm>
        </p:spPr>
      </p:sp>
      <p:sp>
        <p:nvSpPr>
          <p:cNvPr id="3" name="Notes Placeholder 2">
            <a:extLst>
              <a:ext uri="{FF2B5EF4-FFF2-40B4-BE49-F238E27FC236}">
                <a16:creationId xmlns:a16="http://schemas.microsoft.com/office/drawing/2014/main" id="{2744E715-CD8F-53F0-7A64-05F642870FDB}"/>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9E19C701-D719-A294-B50F-E1CBB0315FC0}"/>
              </a:ext>
            </a:extLst>
          </p:cNvPr>
          <p:cNvSpPr>
            <a:spLocks noGrp="1"/>
          </p:cNvSpPr>
          <p:nvPr>
            <p:ph type="sldNum" sz="quarter" idx="5"/>
          </p:nvPr>
        </p:nvSpPr>
        <p:spPr/>
        <p:txBody>
          <a:bodyPr/>
          <a:lstStyle/>
          <a:p>
            <a:pPr defTabSz="826618" rtl="0">
              <a:defRPr/>
            </a:pPr>
            <a:fld id="{CC9F77BD-321F-7347-A414-3DE30EA03450}" type="slidenum">
              <a:rPr lang="en-US">
                <a:latin typeface="Aptos" panose="02110004020202020204"/>
                <a:ea typeface="+mn-ea"/>
                <a:cs typeface="+mn-cs"/>
              </a:rPr>
              <a:pPr defTabSz="826618" rtl="0">
                <a:defRPr/>
              </a:pPr>
              <a:t>55</a:t>
            </a:fld>
            <a:endParaRPr lang="en-US">
              <a:latin typeface="Aptos" panose="02110004020202020204"/>
              <a:ea typeface="+mn-ea"/>
              <a:cs typeface="+mn-cs"/>
            </a:endParaRPr>
          </a:p>
        </p:txBody>
      </p:sp>
    </p:spTree>
    <p:extLst>
      <p:ext uri="{BB962C8B-B14F-4D97-AF65-F5344CB8AC3E}">
        <p14:creationId xmlns:p14="http://schemas.microsoft.com/office/powerpoint/2010/main" val="778947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71E726-638E-6C9C-E804-9C51A4E7B2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A8DDB-65AF-6AC1-B4D7-DD2AF7B16E00}"/>
              </a:ext>
            </a:extLst>
          </p:cNvPr>
          <p:cNvSpPr>
            <a:spLocks noGrp="1" noRot="1" noChangeAspect="1"/>
          </p:cNvSpPr>
          <p:nvPr>
            <p:ph type="sldImg"/>
          </p:nvPr>
        </p:nvSpPr>
        <p:spPr>
          <a:xfrm>
            <a:off x="2722563" y="763588"/>
            <a:ext cx="2913062" cy="2058987"/>
          </a:xfrm>
        </p:spPr>
      </p:sp>
      <p:sp>
        <p:nvSpPr>
          <p:cNvPr id="3" name="Notes Placeholder 2">
            <a:extLst>
              <a:ext uri="{FF2B5EF4-FFF2-40B4-BE49-F238E27FC236}">
                <a16:creationId xmlns:a16="http://schemas.microsoft.com/office/drawing/2014/main" id="{B1D7BB75-CA90-2570-A8DB-730097639DDD}"/>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1F0E7516-987C-E014-783A-DA2D8A46FEA4}"/>
              </a:ext>
            </a:extLst>
          </p:cNvPr>
          <p:cNvSpPr>
            <a:spLocks noGrp="1"/>
          </p:cNvSpPr>
          <p:nvPr>
            <p:ph type="sldNum" sz="quarter" idx="5"/>
          </p:nvPr>
        </p:nvSpPr>
        <p:spPr/>
        <p:txBody>
          <a:bodyPr/>
          <a:lstStyle/>
          <a:p>
            <a:pPr defTabSz="826618" rtl="0">
              <a:defRPr/>
            </a:pPr>
            <a:fld id="{CC9F77BD-321F-7347-A414-3DE30EA03450}" type="slidenum">
              <a:rPr lang="en-US">
                <a:latin typeface="Aptos" panose="02110004020202020204"/>
                <a:ea typeface="+mn-ea"/>
                <a:cs typeface="+mn-cs"/>
              </a:rPr>
              <a:pPr defTabSz="826618" rtl="0">
                <a:defRPr/>
              </a:pPr>
              <a:t>56</a:t>
            </a:fld>
            <a:endParaRPr lang="en-US">
              <a:latin typeface="Aptos" panose="02110004020202020204"/>
              <a:ea typeface="+mn-ea"/>
              <a:cs typeface="+mn-cs"/>
            </a:endParaRPr>
          </a:p>
        </p:txBody>
      </p:sp>
    </p:spTree>
    <p:extLst>
      <p:ext uri="{BB962C8B-B14F-4D97-AF65-F5344CB8AC3E}">
        <p14:creationId xmlns:p14="http://schemas.microsoft.com/office/powerpoint/2010/main" val="24892832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26618">
              <a:defRPr/>
            </a:pPr>
            <a:fld id="{CC9F77BD-321F-7347-A414-3DE30EA03450}" type="slidenum">
              <a:rPr lang="en-US"/>
              <a:pPr defTabSz="826618">
                <a:defRPr/>
              </a:pPr>
              <a:t>60</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C9F77BD-321F-7347-A414-3DE30EA03450}" type="slidenum">
              <a:rPr lang="en-US" smtClean="0"/>
              <a:t>8</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defTabSz="826618">
              <a:defRPr/>
            </a:pPr>
            <a:fld id="{CC9F77BD-321F-7347-A414-3DE30EA03450}" type="slidenum">
              <a:rPr lang="en-US"/>
              <a:pPr defTabSz="826618">
                <a:defRPr/>
              </a:pPr>
              <a:t>61</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C9F77BD-321F-7347-A414-3DE30EA03450}" type="slidenum">
              <a:rPr lang="en-US" smtClean="0"/>
              <a:t>63</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C9F77BD-321F-7347-A414-3DE30EA03450}" type="slidenum">
              <a:rPr lang="en-US" smtClean="0"/>
              <a:t>66</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C9F77BD-321F-7347-A414-3DE30EA03450}" type="slidenum">
              <a:rPr lang="en-US" smtClean="0"/>
              <a:t>9</a:t>
            </a:fld>
            <a:endParaRPr lang="en-US" dirty="0"/>
          </a:p>
        </p:txBody>
      </p:sp>
    </p:spTree>
    <p:extLst>
      <p:ext uri="{BB962C8B-B14F-4D97-AF65-F5344CB8AC3E}">
        <p14:creationId xmlns:p14="http://schemas.microsoft.com/office/powerpoint/2010/main" val="992639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reaction: it won’t happen to me, I’m too small / niche / regional / </a:t>
            </a:r>
          </a:p>
          <a:p>
            <a:r>
              <a:rPr lang="en-US" dirty="0"/>
              <a:t>Mix of businesses on this list, and a range of severity of incidents</a:t>
            </a:r>
          </a:p>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742977-E126-4DAB-8CEA-10618E03D18B}" type="slidenum">
              <a:rPr kumimoji="0" lang="en-AU"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0668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dirty="0"/>
              <a:t>ASD Research from the Australian Government. </a:t>
            </a:r>
          </a:p>
          <a:p>
            <a:pPr marL="171450" indent="-171450">
              <a:buFont typeface="Arial"/>
              <a:buChar char="•"/>
            </a:pPr>
            <a:r>
              <a:rPr lang="en-US" dirty="0"/>
              <a:t>Acknowledge the rise of cybercrime, posing significant risks to financial professionals due to their reliance on sensitive personal information.</a:t>
            </a:r>
          </a:p>
          <a:p>
            <a:pPr marL="171450" indent="-171450">
              <a:buFont typeface="Arial"/>
              <a:buChar char="•"/>
            </a:pPr>
            <a:r>
              <a:rPr lang="en-US" dirty="0"/>
              <a:t>Small and medium businesses, often lacking resources and specific cybersecurity knowledge, are particularly vulnerable to attacks.</a:t>
            </a:r>
          </a:p>
          <a:p>
            <a:endParaRPr lang="en-US" dirty="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96C52A-EB50-4817-97F6-6ADD145FADD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8143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en-US" sz="1800" dirty="0">
                <a:effectLst/>
                <a:latin typeface="Aptos" panose="020B0004020202020204" pitchFamily="34" charset="0"/>
                <a:ea typeface="Times New Roman" panose="02020603050405020304" pitchFamily="18" charset="0"/>
                <a:cs typeface="Times New Roman" panose="02020603050405020304" pitchFamily="18" charset="0"/>
              </a:rPr>
              <a:t>Client portals are becoming the go-to solution to combat cybercrimes</a:t>
            </a:r>
            <a:endParaRPr lang="en-AU" sz="1800" dirty="0">
              <a:effectLst/>
              <a:latin typeface="Aptos" panose="020B000402020202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800" dirty="0">
                <a:effectLst/>
                <a:latin typeface="Aptos" panose="020B0004020202020204" pitchFamily="34" charset="0"/>
                <a:ea typeface="Times New Roman" panose="02020603050405020304" pitchFamily="18" charset="0"/>
                <a:cs typeface="Times New Roman" panose="02020603050405020304" pitchFamily="18" charset="0"/>
              </a:rPr>
              <a:t>Driving secure digital interactions with clients and their data</a:t>
            </a:r>
            <a:endParaRPr lang="en-AU" sz="1800" dirty="0">
              <a:effectLst/>
              <a:latin typeface="Aptos" panose="020B000402020202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800" dirty="0">
                <a:effectLst/>
                <a:latin typeface="Aptos" panose="020B0004020202020204" pitchFamily="34" charset="0"/>
                <a:ea typeface="Times New Roman" panose="02020603050405020304" pitchFamily="18" charset="0"/>
                <a:cs typeface="Times New Roman" panose="02020603050405020304" pitchFamily="18" charset="0"/>
              </a:rPr>
              <a:t>Securely share documents and reports with their clients, instantly reduce a businesses exposure to cyber threat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96C52A-EB50-4817-97F6-6ADD145FADD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8391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Document sharing (both ways), sig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SV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experience</a:t>
            </a: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AD8877-FFC4-46B8-9E0B-A42B10E6BA39}" type="slidenum">
              <a:rPr kumimoji="0" lang="pt-B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6289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Symbol" panose="05050102010706020507" pitchFamily="18" charset="2"/>
              <a:buChar char=""/>
            </a:pPr>
            <a:r>
              <a:rPr lang="en-US" sz="1800">
                <a:effectLst/>
                <a:latin typeface="Aptos" panose="020B0004020202020204" pitchFamily="34" charset="0"/>
                <a:ea typeface="Times New Roman" panose="02020603050405020304" pitchFamily="18" charset="0"/>
                <a:cs typeface="Times New Roman" panose="02020603050405020304" pitchFamily="18" charset="0"/>
              </a:rPr>
              <a:t>Provide a secure environment for client interactions and a single view of wealth</a:t>
            </a:r>
            <a:endParaRPr lang="en-AU" sz="1800">
              <a:effectLst/>
              <a:latin typeface="Aptos" panose="020B000402020202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800">
                <a:effectLst/>
                <a:latin typeface="Aptos" panose="020B0004020202020204" pitchFamily="34" charset="0"/>
                <a:ea typeface="Times New Roman" panose="02020603050405020304" pitchFamily="18" charset="0"/>
                <a:cs typeface="Times New Roman" panose="02020603050405020304" pitchFamily="18" charset="0"/>
              </a:rPr>
              <a:t>Eliminate double handling of data and streamline communication, enhancing overall client experience</a:t>
            </a:r>
            <a:endParaRPr lang="en-AU" sz="1800">
              <a:effectLst/>
              <a:latin typeface="Aptos" panose="020B0004020202020204" pitchFamily="34" charset="0"/>
              <a:ea typeface="Times New Roman" panose="02020603050405020304" pitchFamily="18" charset="0"/>
              <a:cs typeface="Times New Roman" panose="02020603050405020304" pitchFamily="18" charset="0"/>
            </a:endParaRP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742977-E126-4DAB-8CEA-10618E03D18B}" type="slidenum">
              <a:rPr kumimoji="0" lang="en-AU"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3779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605EA-CC9B-D6AF-35C0-293A8AFFFC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B39A2A-47FF-7712-4708-FB1BFF0167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BD3655-6A8D-498A-712C-413609345546}"/>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526F4195-CFB0-2373-DCA7-9542676058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47A1B7-2C52-4BCB-8E93-2F828F5E941A}"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24939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802005" y="2342515"/>
            <a:ext cx="9089390" cy="1586865"/>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subTitle" idx="4"/>
          </p:nvPr>
        </p:nvSpPr>
        <p:spPr>
          <a:xfrm>
            <a:off x="1604010" y="4231640"/>
            <a:ext cx="7485380" cy="1889125"/>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F4A79D8-708B-43D8-8F56-C592D62E7F2B}"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169457" y="1054101"/>
            <a:ext cx="4477385" cy="343043"/>
          </a:xfrm>
        </p:spPr>
        <p:txBody>
          <a:bodyPr lIns="0" tIns="0" rIns="0" bIns="0"/>
          <a:lstStyle>
            <a:lvl1pPr>
              <a:defRPr sz="2229" b="0" i="0">
                <a:solidFill>
                  <a:srgbClr val="2E3841"/>
                </a:solidFill>
                <a:latin typeface="Montserrat Medium"/>
                <a:cs typeface="Montserrat Medium"/>
              </a:defRPr>
            </a:lvl1pPr>
          </a:lstStyle>
          <a:p>
            <a:endParaRPr/>
          </a:p>
        </p:txBody>
      </p:sp>
      <p:sp>
        <p:nvSpPr>
          <p:cNvPr id="3" name="Holder 3"/>
          <p:cNvSpPr>
            <a:spLocks noGrp="1"/>
          </p:cNvSpPr>
          <p:nvPr>
            <p:ph sz="half" idx="2"/>
          </p:nvPr>
        </p:nvSpPr>
        <p:spPr>
          <a:xfrm>
            <a:off x="534671" y="1737995"/>
            <a:ext cx="465162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507102" y="1737995"/>
            <a:ext cx="4651629"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3F896980-C529-4BF4-8C26-F9B2E16653EE}" type="datetime1">
              <a:rPr lang="en-US" smtClean="0"/>
              <a:t>5/15/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037586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169457" y="1054101"/>
            <a:ext cx="4477385" cy="343043"/>
          </a:xfrm>
        </p:spPr>
        <p:txBody>
          <a:bodyPr lIns="0" tIns="0" rIns="0" bIns="0"/>
          <a:lstStyle>
            <a:lvl1pPr>
              <a:defRPr sz="2229" b="0" i="0">
                <a:solidFill>
                  <a:srgbClr val="2E3841"/>
                </a:solidFill>
                <a:latin typeface="Montserrat Medium"/>
                <a:cs typeface="Montserrat Medium"/>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6A7327DE-92C6-4937-AB3E-9A4932736CDB}" type="datetime1">
              <a:rPr lang="en-US" smtClean="0"/>
              <a:t>5/15/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650701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0F2A6B-9B4E-4E10-B10A-31F21F92C9D3}" type="datetime1">
              <a:rPr lang="en-US" smtClean="0"/>
              <a:t>5/15/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40598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A349C829-F851-484A-8D17-479C60350EFF}"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9C0E3164-9346-458C-BDB3-9860CC8407C9}"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169458" y="1054101"/>
            <a:ext cx="4477385" cy="323157"/>
          </a:xfrm>
        </p:spPr>
        <p:txBody>
          <a:bodyPr lIns="0" tIns="0" rIns="0" bIns="0"/>
          <a:lstStyle>
            <a:lvl1pPr>
              <a:defRPr sz="2091"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7A9E866-7733-4A9C-823C-69C8784A32ED}"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5199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169457" y="1054101"/>
            <a:ext cx="4477385" cy="430828"/>
          </a:xfrm>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7BBD02FA-7C44-450F-BF72-D2521BBAE011}"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909043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802005" y="2342515"/>
            <a:ext cx="9089390" cy="1586865"/>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subTitle" idx="4"/>
          </p:nvPr>
        </p:nvSpPr>
        <p:spPr>
          <a:xfrm>
            <a:off x="1604010" y="4231640"/>
            <a:ext cx="7485380" cy="1889125"/>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sz="half" idx="2"/>
          </p:nvPr>
        </p:nvSpPr>
        <p:spPr>
          <a:xfrm>
            <a:off x="534670" y="1737995"/>
            <a:ext cx="4651629" cy="498729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507101" y="1737995"/>
            <a:ext cx="4651629" cy="498729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BB247D5A-67F9-47EC-AD6F-03CEF3157FEE}"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2A037-D736-2706-417E-BD4F9980AD1B}"/>
              </a:ext>
            </a:extLst>
          </p:cNvPr>
          <p:cNvSpPr>
            <a:spLocks noGrp="1"/>
          </p:cNvSpPr>
          <p:nvPr>
            <p:ph type="title"/>
          </p:nvPr>
        </p:nvSpPr>
        <p:spPr/>
        <p:txBody>
          <a:bodyPr/>
          <a:lstStyle/>
          <a:p>
            <a:r>
              <a:rPr lang="en-US"/>
              <a:t>Click to edit Master title style</a:t>
            </a:r>
            <a:endParaRPr lang="en-AU"/>
          </a:p>
        </p:txBody>
      </p:sp>
      <p:sp>
        <p:nvSpPr>
          <p:cNvPr id="5" name="Text Placeholder 2">
            <a:extLst>
              <a:ext uri="{FF2B5EF4-FFF2-40B4-BE49-F238E27FC236}">
                <a16:creationId xmlns:a16="http://schemas.microsoft.com/office/drawing/2014/main" id="{642C7907-8F05-370A-6A8D-F0BD6976173A}"/>
              </a:ext>
            </a:extLst>
          </p:cNvPr>
          <p:cNvSpPr>
            <a:spLocks noGrp="1"/>
          </p:cNvSpPr>
          <p:nvPr>
            <p:ph type="body" idx="1"/>
          </p:nvPr>
        </p:nvSpPr>
        <p:spPr>
          <a:xfrm>
            <a:off x="633528" y="1492540"/>
            <a:ext cx="9426344" cy="383888"/>
          </a:xfrm>
        </p:spPr>
        <p:txBody>
          <a:bodyPr wrap="square" anchor="t" anchorCtr="0">
            <a:spAutoFit/>
          </a:bodyPr>
          <a:lstStyle>
            <a:lvl1pPr marL="0" indent="0">
              <a:buNone/>
              <a:defRPr sz="2105" b="0">
                <a:solidFill>
                  <a:schemeClr val="accent3"/>
                </a:solidFill>
              </a:defRPr>
            </a:lvl1pPr>
            <a:lvl2pPr marL="401000" indent="0">
              <a:buNone/>
              <a:defRPr sz="1754" b="1"/>
            </a:lvl2pPr>
            <a:lvl3pPr marL="802000" indent="0">
              <a:buNone/>
              <a:defRPr sz="1579" b="1"/>
            </a:lvl3pPr>
            <a:lvl4pPr marL="1203001" indent="0">
              <a:buNone/>
              <a:defRPr sz="1403" b="1"/>
            </a:lvl4pPr>
            <a:lvl5pPr marL="1604000" indent="0">
              <a:buNone/>
              <a:defRPr sz="1403" b="1"/>
            </a:lvl5pPr>
            <a:lvl6pPr marL="2005001" indent="0">
              <a:buNone/>
              <a:defRPr sz="1403" b="1"/>
            </a:lvl6pPr>
            <a:lvl7pPr marL="2406000" indent="0">
              <a:buNone/>
              <a:defRPr sz="1403" b="1"/>
            </a:lvl7pPr>
            <a:lvl8pPr marL="2807001" indent="0">
              <a:buNone/>
              <a:defRPr sz="1403" b="1"/>
            </a:lvl8pPr>
            <a:lvl9pPr marL="3208001" indent="0">
              <a:buNone/>
              <a:defRPr sz="1403" b="1"/>
            </a:lvl9pPr>
          </a:lstStyle>
          <a:p>
            <a:pPr lvl="0"/>
            <a:r>
              <a:rPr lang="en-US"/>
              <a:t>Click to edit Master text styles</a:t>
            </a:r>
          </a:p>
        </p:txBody>
      </p:sp>
      <p:sp>
        <p:nvSpPr>
          <p:cNvPr id="3" name="Rectangle 2">
            <a:extLst>
              <a:ext uri="{FF2B5EF4-FFF2-40B4-BE49-F238E27FC236}">
                <a16:creationId xmlns:a16="http://schemas.microsoft.com/office/drawing/2014/main" id="{EB6793E3-8171-52EC-890A-65EEE9B883D6}"/>
              </a:ext>
            </a:extLst>
          </p:cNvPr>
          <p:cNvSpPr/>
          <p:nvPr userDrawn="1"/>
        </p:nvSpPr>
        <p:spPr>
          <a:xfrm>
            <a:off x="0" y="6913515"/>
            <a:ext cx="10693400" cy="642987"/>
          </a:xfrm>
          <a:prstGeom prst="rect">
            <a:avLst/>
          </a:prstGeom>
          <a:solidFill>
            <a:srgbClr val="293C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8"/>
          </a:p>
        </p:txBody>
      </p:sp>
      <p:grpSp>
        <p:nvGrpSpPr>
          <p:cNvPr id="4" name="Group 3">
            <a:extLst>
              <a:ext uri="{FF2B5EF4-FFF2-40B4-BE49-F238E27FC236}">
                <a16:creationId xmlns:a16="http://schemas.microsoft.com/office/drawing/2014/main" id="{0C6864CF-69D3-2C6B-609C-CD0DA75149D5}"/>
              </a:ext>
            </a:extLst>
          </p:cNvPr>
          <p:cNvGrpSpPr/>
          <p:nvPr userDrawn="1"/>
        </p:nvGrpSpPr>
        <p:grpSpPr>
          <a:xfrm>
            <a:off x="635355" y="7143875"/>
            <a:ext cx="538013" cy="190735"/>
            <a:chOff x="3370030" y="2260711"/>
            <a:chExt cx="2531900" cy="714495"/>
          </a:xfrm>
        </p:grpSpPr>
        <p:sp>
          <p:nvSpPr>
            <p:cNvPr id="6" name="Freeform 5">
              <a:extLst>
                <a:ext uri="{FF2B5EF4-FFF2-40B4-BE49-F238E27FC236}">
                  <a16:creationId xmlns:a16="http://schemas.microsoft.com/office/drawing/2014/main" id="{9313E79C-166C-AC8E-5929-2422A5998BED}"/>
                </a:ext>
              </a:extLst>
            </p:cNvPr>
            <p:cNvSpPr>
              <a:spLocks/>
            </p:cNvSpPr>
            <p:nvPr/>
          </p:nvSpPr>
          <p:spPr bwMode="auto">
            <a:xfrm>
              <a:off x="5389960" y="2292976"/>
              <a:ext cx="213122" cy="348854"/>
            </a:xfrm>
            <a:custGeom>
              <a:avLst/>
              <a:gdLst>
                <a:gd name="T0" fmla="*/ 0 w 104"/>
                <a:gd name="T1" fmla="*/ 143 h 169"/>
                <a:gd name="T2" fmla="*/ 2 w 104"/>
                <a:gd name="T3" fmla="*/ 140 h 169"/>
                <a:gd name="T4" fmla="*/ 60 w 104"/>
                <a:gd name="T5" fmla="*/ 71 h 169"/>
                <a:gd name="T6" fmla="*/ 70 w 104"/>
                <a:gd name="T7" fmla="*/ 48 h 169"/>
                <a:gd name="T8" fmla="*/ 52 w 104"/>
                <a:gd name="T9" fmla="*/ 29 h 169"/>
                <a:gd name="T10" fmla="*/ 32 w 104"/>
                <a:gd name="T11" fmla="*/ 49 h 169"/>
                <a:gd name="T12" fmla="*/ 29 w 104"/>
                <a:gd name="T13" fmla="*/ 51 h 169"/>
                <a:gd name="T14" fmla="*/ 3 w 104"/>
                <a:gd name="T15" fmla="*/ 46 h 169"/>
                <a:gd name="T16" fmla="*/ 1 w 104"/>
                <a:gd name="T17" fmla="*/ 43 h 169"/>
                <a:gd name="T18" fmla="*/ 53 w 104"/>
                <a:gd name="T19" fmla="*/ 0 h 169"/>
                <a:gd name="T20" fmla="*/ 104 w 104"/>
                <a:gd name="T21" fmla="*/ 48 h 169"/>
                <a:gd name="T22" fmla="*/ 87 w 104"/>
                <a:gd name="T23" fmla="*/ 88 h 169"/>
                <a:gd name="T24" fmla="*/ 43 w 104"/>
                <a:gd name="T25" fmla="*/ 139 h 169"/>
                <a:gd name="T26" fmla="*/ 43 w 104"/>
                <a:gd name="T27" fmla="*/ 140 h 169"/>
                <a:gd name="T28" fmla="*/ 101 w 104"/>
                <a:gd name="T29" fmla="*/ 140 h 169"/>
                <a:gd name="T30" fmla="*/ 104 w 104"/>
                <a:gd name="T31" fmla="*/ 142 h 169"/>
                <a:gd name="T32" fmla="*/ 104 w 104"/>
                <a:gd name="T33" fmla="*/ 166 h 169"/>
                <a:gd name="T34" fmla="*/ 101 w 104"/>
                <a:gd name="T35" fmla="*/ 169 h 169"/>
                <a:gd name="T36" fmla="*/ 3 w 104"/>
                <a:gd name="T37" fmla="*/ 169 h 169"/>
                <a:gd name="T38" fmla="*/ 0 w 104"/>
                <a:gd name="T39" fmla="*/ 166 h 169"/>
                <a:gd name="T40" fmla="*/ 0 w 104"/>
                <a:gd name="T41" fmla="*/ 14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69">
                  <a:moveTo>
                    <a:pt x="0" y="143"/>
                  </a:moveTo>
                  <a:cubicBezTo>
                    <a:pt x="0" y="142"/>
                    <a:pt x="1" y="141"/>
                    <a:pt x="2" y="140"/>
                  </a:cubicBezTo>
                  <a:cubicBezTo>
                    <a:pt x="60" y="71"/>
                    <a:pt x="60" y="71"/>
                    <a:pt x="60" y="71"/>
                  </a:cubicBezTo>
                  <a:cubicBezTo>
                    <a:pt x="66" y="64"/>
                    <a:pt x="70" y="57"/>
                    <a:pt x="70" y="48"/>
                  </a:cubicBezTo>
                  <a:cubicBezTo>
                    <a:pt x="70" y="37"/>
                    <a:pt x="63" y="29"/>
                    <a:pt x="52" y="29"/>
                  </a:cubicBezTo>
                  <a:cubicBezTo>
                    <a:pt x="40" y="29"/>
                    <a:pt x="34" y="36"/>
                    <a:pt x="32" y="49"/>
                  </a:cubicBezTo>
                  <a:cubicBezTo>
                    <a:pt x="32" y="50"/>
                    <a:pt x="31" y="51"/>
                    <a:pt x="29" y="51"/>
                  </a:cubicBezTo>
                  <a:cubicBezTo>
                    <a:pt x="3" y="46"/>
                    <a:pt x="3" y="46"/>
                    <a:pt x="3" y="46"/>
                  </a:cubicBezTo>
                  <a:cubicBezTo>
                    <a:pt x="1" y="46"/>
                    <a:pt x="0" y="45"/>
                    <a:pt x="1" y="43"/>
                  </a:cubicBezTo>
                  <a:cubicBezTo>
                    <a:pt x="2" y="20"/>
                    <a:pt x="21" y="0"/>
                    <a:pt x="53" y="0"/>
                  </a:cubicBezTo>
                  <a:cubicBezTo>
                    <a:pt x="84" y="0"/>
                    <a:pt x="104" y="21"/>
                    <a:pt x="104" y="48"/>
                  </a:cubicBezTo>
                  <a:cubicBezTo>
                    <a:pt x="104" y="63"/>
                    <a:pt x="97" y="76"/>
                    <a:pt x="87" y="88"/>
                  </a:cubicBezTo>
                  <a:cubicBezTo>
                    <a:pt x="43" y="139"/>
                    <a:pt x="43" y="139"/>
                    <a:pt x="43" y="139"/>
                  </a:cubicBezTo>
                  <a:cubicBezTo>
                    <a:pt x="43" y="140"/>
                    <a:pt x="43" y="140"/>
                    <a:pt x="43" y="140"/>
                  </a:cubicBezTo>
                  <a:cubicBezTo>
                    <a:pt x="101" y="140"/>
                    <a:pt x="101" y="140"/>
                    <a:pt x="101" y="140"/>
                  </a:cubicBezTo>
                  <a:cubicBezTo>
                    <a:pt x="103" y="140"/>
                    <a:pt x="104" y="141"/>
                    <a:pt x="104" y="142"/>
                  </a:cubicBezTo>
                  <a:cubicBezTo>
                    <a:pt x="104" y="166"/>
                    <a:pt x="104" y="166"/>
                    <a:pt x="104" y="166"/>
                  </a:cubicBezTo>
                  <a:cubicBezTo>
                    <a:pt x="104" y="168"/>
                    <a:pt x="103" y="169"/>
                    <a:pt x="101" y="169"/>
                  </a:cubicBezTo>
                  <a:cubicBezTo>
                    <a:pt x="3" y="169"/>
                    <a:pt x="3" y="169"/>
                    <a:pt x="3" y="169"/>
                  </a:cubicBezTo>
                  <a:cubicBezTo>
                    <a:pt x="1" y="169"/>
                    <a:pt x="0" y="168"/>
                    <a:pt x="0" y="166"/>
                  </a:cubicBezTo>
                  <a:lnTo>
                    <a:pt x="0" y="143"/>
                  </a:lnTo>
                  <a:close/>
                </a:path>
              </a:pathLst>
            </a:custGeom>
            <a:solidFill>
              <a:srgbClr val="EDCB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41">
                <a:defRPr/>
              </a:pPr>
              <a:endParaRPr lang="pt-BR" sz="1185">
                <a:solidFill>
                  <a:prstClr val="black"/>
                </a:solidFill>
                <a:latin typeface="Arial" panose="020B0604020202020204"/>
              </a:endParaRPr>
            </a:p>
          </p:txBody>
        </p:sp>
        <p:sp>
          <p:nvSpPr>
            <p:cNvPr id="7" name="Freeform 6">
              <a:extLst>
                <a:ext uri="{FF2B5EF4-FFF2-40B4-BE49-F238E27FC236}">
                  <a16:creationId xmlns:a16="http://schemas.microsoft.com/office/drawing/2014/main" id="{FA685FB0-884D-69C7-0026-2661927D233A}"/>
                </a:ext>
              </a:extLst>
            </p:cNvPr>
            <p:cNvSpPr>
              <a:spLocks/>
            </p:cNvSpPr>
            <p:nvPr/>
          </p:nvSpPr>
          <p:spPr bwMode="auto">
            <a:xfrm>
              <a:off x="5664995" y="2298930"/>
              <a:ext cx="236935" cy="342900"/>
            </a:xfrm>
            <a:custGeom>
              <a:avLst/>
              <a:gdLst>
                <a:gd name="T0" fmla="*/ 0 w 116"/>
                <a:gd name="T1" fmla="*/ 139 h 166"/>
                <a:gd name="T2" fmla="*/ 0 w 116"/>
                <a:gd name="T3" fmla="*/ 114 h 166"/>
                <a:gd name="T4" fmla="*/ 1 w 116"/>
                <a:gd name="T5" fmla="*/ 111 h 166"/>
                <a:gd name="T6" fmla="*/ 50 w 116"/>
                <a:gd name="T7" fmla="*/ 2 h 166"/>
                <a:gd name="T8" fmla="*/ 54 w 116"/>
                <a:gd name="T9" fmla="*/ 0 h 166"/>
                <a:gd name="T10" fmla="*/ 85 w 116"/>
                <a:gd name="T11" fmla="*/ 0 h 166"/>
                <a:gd name="T12" fmla="*/ 86 w 116"/>
                <a:gd name="T13" fmla="*/ 3 h 166"/>
                <a:gd name="T14" fmla="*/ 37 w 116"/>
                <a:gd name="T15" fmla="*/ 111 h 166"/>
                <a:gd name="T16" fmla="*/ 37 w 116"/>
                <a:gd name="T17" fmla="*/ 112 h 166"/>
                <a:gd name="T18" fmla="*/ 67 w 116"/>
                <a:gd name="T19" fmla="*/ 112 h 166"/>
                <a:gd name="T20" fmla="*/ 68 w 116"/>
                <a:gd name="T21" fmla="*/ 111 h 166"/>
                <a:gd name="T22" fmla="*/ 68 w 116"/>
                <a:gd name="T23" fmla="*/ 75 h 166"/>
                <a:gd name="T24" fmla="*/ 71 w 116"/>
                <a:gd name="T25" fmla="*/ 72 h 166"/>
                <a:gd name="T26" fmla="*/ 99 w 116"/>
                <a:gd name="T27" fmla="*/ 72 h 166"/>
                <a:gd name="T28" fmla="*/ 102 w 116"/>
                <a:gd name="T29" fmla="*/ 75 h 166"/>
                <a:gd name="T30" fmla="*/ 102 w 116"/>
                <a:gd name="T31" fmla="*/ 111 h 166"/>
                <a:gd name="T32" fmla="*/ 103 w 116"/>
                <a:gd name="T33" fmla="*/ 112 h 166"/>
                <a:gd name="T34" fmla="*/ 114 w 116"/>
                <a:gd name="T35" fmla="*/ 112 h 166"/>
                <a:gd name="T36" fmla="*/ 116 w 116"/>
                <a:gd name="T37" fmla="*/ 114 h 166"/>
                <a:gd name="T38" fmla="*/ 116 w 116"/>
                <a:gd name="T39" fmla="*/ 139 h 166"/>
                <a:gd name="T40" fmla="*/ 114 w 116"/>
                <a:gd name="T41" fmla="*/ 141 h 166"/>
                <a:gd name="T42" fmla="*/ 103 w 116"/>
                <a:gd name="T43" fmla="*/ 141 h 166"/>
                <a:gd name="T44" fmla="*/ 102 w 116"/>
                <a:gd name="T45" fmla="*/ 143 h 166"/>
                <a:gd name="T46" fmla="*/ 102 w 116"/>
                <a:gd name="T47" fmla="*/ 163 h 166"/>
                <a:gd name="T48" fmla="*/ 99 w 116"/>
                <a:gd name="T49" fmla="*/ 166 h 166"/>
                <a:gd name="T50" fmla="*/ 71 w 116"/>
                <a:gd name="T51" fmla="*/ 166 h 166"/>
                <a:gd name="T52" fmla="*/ 68 w 116"/>
                <a:gd name="T53" fmla="*/ 163 h 166"/>
                <a:gd name="T54" fmla="*/ 68 w 116"/>
                <a:gd name="T55" fmla="*/ 143 h 166"/>
                <a:gd name="T56" fmla="*/ 67 w 116"/>
                <a:gd name="T57" fmla="*/ 141 h 166"/>
                <a:gd name="T58" fmla="*/ 3 w 116"/>
                <a:gd name="T59" fmla="*/ 141 h 166"/>
                <a:gd name="T60" fmla="*/ 0 w 116"/>
                <a:gd name="T61" fmla="*/ 13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66">
                  <a:moveTo>
                    <a:pt x="0" y="139"/>
                  </a:moveTo>
                  <a:cubicBezTo>
                    <a:pt x="0" y="114"/>
                    <a:pt x="0" y="114"/>
                    <a:pt x="0" y="114"/>
                  </a:cubicBezTo>
                  <a:cubicBezTo>
                    <a:pt x="0" y="113"/>
                    <a:pt x="0" y="112"/>
                    <a:pt x="1" y="111"/>
                  </a:cubicBezTo>
                  <a:cubicBezTo>
                    <a:pt x="50" y="2"/>
                    <a:pt x="50" y="2"/>
                    <a:pt x="50" y="2"/>
                  </a:cubicBezTo>
                  <a:cubicBezTo>
                    <a:pt x="51" y="1"/>
                    <a:pt x="52" y="0"/>
                    <a:pt x="54" y="0"/>
                  </a:cubicBezTo>
                  <a:cubicBezTo>
                    <a:pt x="85" y="0"/>
                    <a:pt x="85" y="0"/>
                    <a:pt x="85" y="0"/>
                  </a:cubicBezTo>
                  <a:cubicBezTo>
                    <a:pt x="86" y="0"/>
                    <a:pt x="87" y="1"/>
                    <a:pt x="86" y="3"/>
                  </a:cubicBezTo>
                  <a:cubicBezTo>
                    <a:pt x="37" y="111"/>
                    <a:pt x="37" y="111"/>
                    <a:pt x="37" y="111"/>
                  </a:cubicBezTo>
                  <a:cubicBezTo>
                    <a:pt x="37" y="112"/>
                    <a:pt x="37" y="112"/>
                    <a:pt x="37" y="112"/>
                  </a:cubicBezTo>
                  <a:cubicBezTo>
                    <a:pt x="67" y="112"/>
                    <a:pt x="67" y="112"/>
                    <a:pt x="67" y="112"/>
                  </a:cubicBezTo>
                  <a:cubicBezTo>
                    <a:pt x="68" y="112"/>
                    <a:pt x="68" y="112"/>
                    <a:pt x="68" y="111"/>
                  </a:cubicBezTo>
                  <a:cubicBezTo>
                    <a:pt x="68" y="75"/>
                    <a:pt x="68" y="75"/>
                    <a:pt x="68" y="75"/>
                  </a:cubicBezTo>
                  <a:cubicBezTo>
                    <a:pt x="68" y="73"/>
                    <a:pt x="69" y="72"/>
                    <a:pt x="71" y="72"/>
                  </a:cubicBezTo>
                  <a:cubicBezTo>
                    <a:pt x="99" y="72"/>
                    <a:pt x="99" y="72"/>
                    <a:pt x="99" y="72"/>
                  </a:cubicBezTo>
                  <a:cubicBezTo>
                    <a:pt x="101" y="72"/>
                    <a:pt x="102" y="73"/>
                    <a:pt x="102" y="75"/>
                  </a:cubicBezTo>
                  <a:cubicBezTo>
                    <a:pt x="102" y="111"/>
                    <a:pt x="102" y="111"/>
                    <a:pt x="102" y="111"/>
                  </a:cubicBezTo>
                  <a:cubicBezTo>
                    <a:pt x="102" y="112"/>
                    <a:pt x="102" y="112"/>
                    <a:pt x="103" y="112"/>
                  </a:cubicBezTo>
                  <a:cubicBezTo>
                    <a:pt x="114" y="112"/>
                    <a:pt x="114" y="112"/>
                    <a:pt x="114" y="112"/>
                  </a:cubicBezTo>
                  <a:cubicBezTo>
                    <a:pt x="115" y="112"/>
                    <a:pt x="116" y="113"/>
                    <a:pt x="116" y="114"/>
                  </a:cubicBezTo>
                  <a:cubicBezTo>
                    <a:pt x="116" y="139"/>
                    <a:pt x="116" y="139"/>
                    <a:pt x="116" y="139"/>
                  </a:cubicBezTo>
                  <a:cubicBezTo>
                    <a:pt x="116" y="140"/>
                    <a:pt x="115" y="141"/>
                    <a:pt x="114" y="141"/>
                  </a:cubicBezTo>
                  <a:cubicBezTo>
                    <a:pt x="103" y="141"/>
                    <a:pt x="103" y="141"/>
                    <a:pt x="103" y="141"/>
                  </a:cubicBezTo>
                  <a:cubicBezTo>
                    <a:pt x="102" y="141"/>
                    <a:pt x="102" y="142"/>
                    <a:pt x="102" y="143"/>
                  </a:cubicBezTo>
                  <a:cubicBezTo>
                    <a:pt x="102" y="163"/>
                    <a:pt x="102" y="163"/>
                    <a:pt x="102" y="163"/>
                  </a:cubicBezTo>
                  <a:cubicBezTo>
                    <a:pt x="102" y="165"/>
                    <a:pt x="101" y="166"/>
                    <a:pt x="99" y="166"/>
                  </a:cubicBezTo>
                  <a:cubicBezTo>
                    <a:pt x="71" y="166"/>
                    <a:pt x="71" y="166"/>
                    <a:pt x="71" y="166"/>
                  </a:cubicBezTo>
                  <a:cubicBezTo>
                    <a:pt x="69" y="166"/>
                    <a:pt x="68" y="165"/>
                    <a:pt x="68" y="163"/>
                  </a:cubicBezTo>
                  <a:cubicBezTo>
                    <a:pt x="68" y="143"/>
                    <a:pt x="68" y="143"/>
                    <a:pt x="68" y="143"/>
                  </a:cubicBezTo>
                  <a:cubicBezTo>
                    <a:pt x="68" y="142"/>
                    <a:pt x="68" y="141"/>
                    <a:pt x="67" y="141"/>
                  </a:cubicBezTo>
                  <a:cubicBezTo>
                    <a:pt x="3" y="141"/>
                    <a:pt x="3" y="141"/>
                    <a:pt x="3" y="141"/>
                  </a:cubicBezTo>
                  <a:cubicBezTo>
                    <a:pt x="1" y="141"/>
                    <a:pt x="0" y="140"/>
                    <a:pt x="0" y="139"/>
                  </a:cubicBezTo>
                </a:path>
              </a:pathLst>
            </a:custGeom>
            <a:solidFill>
              <a:srgbClr val="EDCB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41">
                <a:defRPr/>
              </a:pPr>
              <a:endParaRPr lang="pt-BR" sz="1185">
                <a:solidFill>
                  <a:prstClr val="black"/>
                </a:solidFill>
                <a:latin typeface="Arial" panose="020B0604020202020204"/>
              </a:endParaRPr>
            </a:p>
          </p:txBody>
        </p:sp>
        <p:sp>
          <p:nvSpPr>
            <p:cNvPr id="8" name="Freeform 8">
              <a:extLst>
                <a:ext uri="{FF2B5EF4-FFF2-40B4-BE49-F238E27FC236}">
                  <a16:creationId xmlns:a16="http://schemas.microsoft.com/office/drawing/2014/main" id="{3FFF24B6-4333-D7B3-4D17-7F9ADE8E3166}"/>
                </a:ext>
              </a:extLst>
            </p:cNvPr>
            <p:cNvSpPr>
              <a:spLocks/>
            </p:cNvSpPr>
            <p:nvPr/>
          </p:nvSpPr>
          <p:spPr bwMode="auto">
            <a:xfrm>
              <a:off x="4071939" y="2295359"/>
              <a:ext cx="235744" cy="679847"/>
            </a:xfrm>
            <a:custGeom>
              <a:avLst/>
              <a:gdLst>
                <a:gd name="T0" fmla="*/ 110 w 115"/>
                <a:gd name="T1" fmla="*/ 267 h 330"/>
                <a:gd name="T2" fmla="*/ 110 w 115"/>
                <a:gd name="T3" fmla="*/ 267 h 330"/>
                <a:gd name="T4" fmla="*/ 71 w 115"/>
                <a:gd name="T5" fmla="*/ 207 h 330"/>
                <a:gd name="T6" fmla="*/ 71 w 115"/>
                <a:gd name="T7" fmla="*/ 5 h 330"/>
                <a:gd name="T8" fmla="*/ 66 w 115"/>
                <a:gd name="T9" fmla="*/ 0 h 330"/>
                <a:gd name="T10" fmla="*/ 5 w 115"/>
                <a:gd name="T11" fmla="*/ 0 h 330"/>
                <a:gd name="T12" fmla="*/ 0 w 115"/>
                <a:gd name="T13" fmla="*/ 5 h 330"/>
                <a:gd name="T14" fmla="*/ 0 w 115"/>
                <a:gd name="T15" fmla="*/ 205 h 330"/>
                <a:gd name="T16" fmla="*/ 109 w 115"/>
                <a:gd name="T17" fmla="*/ 330 h 330"/>
                <a:gd name="T18" fmla="*/ 109 w 115"/>
                <a:gd name="T19" fmla="*/ 330 h 330"/>
                <a:gd name="T20" fmla="*/ 110 w 115"/>
                <a:gd name="T21" fmla="*/ 330 h 330"/>
                <a:gd name="T22" fmla="*/ 110 w 115"/>
                <a:gd name="T23" fmla="*/ 330 h 330"/>
                <a:gd name="T24" fmla="*/ 110 w 115"/>
                <a:gd name="T25" fmla="*/ 330 h 330"/>
                <a:gd name="T26" fmla="*/ 115 w 115"/>
                <a:gd name="T27" fmla="*/ 324 h 330"/>
                <a:gd name="T28" fmla="*/ 115 w 115"/>
                <a:gd name="T29" fmla="*/ 272 h 330"/>
                <a:gd name="T30" fmla="*/ 110 w 115"/>
                <a:gd name="T31"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330">
                  <a:moveTo>
                    <a:pt x="110" y="267"/>
                  </a:moveTo>
                  <a:cubicBezTo>
                    <a:pt x="110" y="267"/>
                    <a:pt x="110" y="267"/>
                    <a:pt x="110" y="267"/>
                  </a:cubicBezTo>
                  <a:cubicBezTo>
                    <a:pt x="83" y="263"/>
                    <a:pt x="71" y="242"/>
                    <a:pt x="71" y="207"/>
                  </a:cubicBezTo>
                  <a:cubicBezTo>
                    <a:pt x="71" y="5"/>
                    <a:pt x="71" y="5"/>
                    <a:pt x="71" y="5"/>
                  </a:cubicBezTo>
                  <a:cubicBezTo>
                    <a:pt x="71" y="2"/>
                    <a:pt x="69" y="0"/>
                    <a:pt x="66" y="0"/>
                  </a:cubicBezTo>
                  <a:cubicBezTo>
                    <a:pt x="5" y="0"/>
                    <a:pt x="5" y="0"/>
                    <a:pt x="5" y="0"/>
                  </a:cubicBezTo>
                  <a:cubicBezTo>
                    <a:pt x="2" y="0"/>
                    <a:pt x="0" y="2"/>
                    <a:pt x="0" y="5"/>
                  </a:cubicBezTo>
                  <a:cubicBezTo>
                    <a:pt x="0" y="205"/>
                    <a:pt x="0" y="205"/>
                    <a:pt x="0" y="205"/>
                  </a:cubicBezTo>
                  <a:cubicBezTo>
                    <a:pt x="0" y="282"/>
                    <a:pt x="42" y="325"/>
                    <a:pt x="109" y="330"/>
                  </a:cubicBezTo>
                  <a:cubicBezTo>
                    <a:pt x="109" y="330"/>
                    <a:pt x="109" y="330"/>
                    <a:pt x="109" y="330"/>
                  </a:cubicBezTo>
                  <a:cubicBezTo>
                    <a:pt x="110" y="330"/>
                    <a:pt x="110" y="330"/>
                    <a:pt x="110" y="330"/>
                  </a:cubicBezTo>
                  <a:cubicBezTo>
                    <a:pt x="110" y="330"/>
                    <a:pt x="110" y="330"/>
                    <a:pt x="110" y="330"/>
                  </a:cubicBezTo>
                  <a:cubicBezTo>
                    <a:pt x="110" y="330"/>
                    <a:pt x="110" y="330"/>
                    <a:pt x="110" y="330"/>
                  </a:cubicBezTo>
                  <a:cubicBezTo>
                    <a:pt x="113" y="330"/>
                    <a:pt x="115" y="327"/>
                    <a:pt x="115" y="324"/>
                  </a:cubicBezTo>
                  <a:cubicBezTo>
                    <a:pt x="115" y="272"/>
                    <a:pt x="115" y="272"/>
                    <a:pt x="115" y="272"/>
                  </a:cubicBezTo>
                  <a:cubicBezTo>
                    <a:pt x="115" y="269"/>
                    <a:pt x="113" y="267"/>
                    <a:pt x="110" y="26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41">
                <a:defRPr/>
              </a:pPr>
              <a:endParaRPr lang="pt-BR" sz="1185">
                <a:solidFill>
                  <a:prstClr val="black"/>
                </a:solidFill>
                <a:latin typeface="Arial" panose="020B0604020202020204"/>
              </a:endParaRPr>
            </a:p>
          </p:txBody>
        </p:sp>
        <p:sp>
          <p:nvSpPr>
            <p:cNvPr id="9" name="Freeform 9">
              <a:extLst>
                <a:ext uri="{FF2B5EF4-FFF2-40B4-BE49-F238E27FC236}">
                  <a16:creationId xmlns:a16="http://schemas.microsoft.com/office/drawing/2014/main" id="{1D49FC45-7370-6E80-0000-EA43B8BA330D}"/>
                </a:ext>
              </a:extLst>
            </p:cNvPr>
            <p:cNvSpPr>
              <a:spLocks/>
            </p:cNvSpPr>
            <p:nvPr/>
          </p:nvSpPr>
          <p:spPr bwMode="auto">
            <a:xfrm>
              <a:off x="4358880" y="2295359"/>
              <a:ext cx="241697" cy="679847"/>
            </a:xfrm>
            <a:custGeom>
              <a:avLst/>
              <a:gdLst>
                <a:gd name="T0" fmla="*/ 113 w 118"/>
                <a:gd name="T1" fmla="*/ 0 h 330"/>
                <a:gd name="T2" fmla="*/ 53 w 118"/>
                <a:gd name="T3" fmla="*/ 0 h 330"/>
                <a:gd name="T4" fmla="*/ 48 w 118"/>
                <a:gd name="T5" fmla="*/ 5 h 330"/>
                <a:gd name="T6" fmla="*/ 48 w 118"/>
                <a:gd name="T7" fmla="*/ 207 h 330"/>
                <a:gd name="T8" fmla="*/ 6 w 118"/>
                <a:gd name="T9" fmla="*/ 267 h 330"/>
                <a:gd name="T10" fmla="*/ 6 w 118"/>
                <a:gd name="T11" fmla="*/ 267 h 330"/>
                <a:gd name="T12" fmla="*/ 5 w 118"/>
                <a:gd name="T13" fmla="*/ 267 h 330"/>
                <a:gd name="T14" fmla="*/ 0 w 118"/>
                <a:gd name="T15" fmla="*/ 272 h 330"/>
                <a:gd name="T16" fmla="*/ 0 w 118"/>
                <a:gd name="T17" fmla="*/ 325 h 330"/>
                <a:gd name="T18" fmla="*/ 5 w 118"/>
                <a:gd name="T19" fmla="*/ 330 h 330"/>
                <a:gd name="T20" fmla="*/ 6 w 118"/>
                <a:gd name="T21" fmla="*/ 330 h 330"/>
                <a:gd name="T22" fmla="*/ 7 w 118"/>
                <a:gd name="T23" fmla="*/ 330 h 330"/>
                <a:gd name="T24" fmla="*/ 118 w 118"/>
                <a:gd name="T25" fmla="*/ 205 h 330"/>
                <a:gd name="T26" fmla="*/ 118 w 118"/>
                <a:gd name="T27" fmla="*/ 5 h 330"/>
                <a:gd name="T28" fmla="*/ 113 w 118"/>
                <a:gd name="T2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330">
                  <a:moveTo>
                    <a:pt x="113" y="0"/>
                  </a:moveTo>
                  <a:cubicBezTo>
                    <a:pt x="53" y="0"/>
                    <a:pt x="53" y="0"/>
                    <a:pt x="53" y="0"/>
                  </a:cubicBezTo>
                  <a:cubicBezTo>
                    <a:pt x="50" y="0"/>
                    <a:pt x="48" y="2"/>
                    <a:pt x="48" y="5"/>
                  </a:cubicBezTo>
                  <a:cubicBezTo>
                    <a:pt x="48" y="207"/>
                    <a:pt x="48" y="207"/>
                    <a:pt x="48" y="207"/>
                  </a:cubicBezTo>
                  <a:cubicBezTo>
                    <a:pt x="48" y="242"/>
                    <a:pt x="33" y="263"/>
                    <a:pt x="6" y="267"/>
                  </a:cubicBezTo>
                  <a:cubicBezTo>
                    <a:pt x="6" y="267"/>
                    <a:pt x="6" y="267"/>
                    <a:pt x="6" y="267"/>
                  </a:cubicBezTo>
                  <a:cubicBezTo>
                    <a:pt x="5" y="267"/>
                    <a:pt x="5" y="267"/>
                    <a:pt x="5" y="267"/>
                  </a:cubicBezTo>
                  <a:cubicBezTo>
                    <a:pt x="3" y="267"/>
                    <a:pt x="0" y="270"/>
                    <a:pt x="0" y="272"/>
                  </a:cubicBezTo>
                  <a:cubicBezTo>
                    <a:pt x="0" y="325"/>
                    <a:pt x="0" y="325"/>
                    <a:pt x="0" y="325"/>
                  </a:cubicBezTo>
                  <a:cubicBezTo>
                    <a:pt x="0" y="327"/>
                    <a:pt x="3" y="330"/>
                    <a:pt x="5" y="330"/>
                  </a:cubicBezTo>
                  <a:cubicBezTo>
                    <a:pt x="6" y="330"/>
                    <a:pt x="6" y="330"/>
                    <a:pt x="6" y="330"/>
                  </a:cubicBezTo>
                  <a:cubicBezTo>
                    <a:pt x="7" y="330"/>
                    <a:pt x="7" y="330"/>
                    <a:pt x="7" y="330"/>
                  </a:cubicBezTo>
                  <a:cubicBezTo>
                    <a:pt x="74" y="326"/>
                    <a:pt x="118" y="282"/>
                    <a:pt x="118" y="205"/>
                  </a:cubicBezTo>
                  <a:cubicBezTo>
                    <a:pt x="118" y="5"/>
                    <a:pt x="118" y="5"/>
                    <a:pt x="118" y="5"/>
                  </a:cubicBezTo>
                  <a:cubicBezTo>
                    <a:pt x="118" y="2"/>
                    <a:pt x="116" y="0"/>
                    <a:pt x="11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41">
                <a:defRPr/>
              </a:pPr>
              <a:endParaRPr lang="pt-BR" sz="1185">
                <a:solidFill>
                  <a:prstClr val="black"/>
                </a:solidFill>
                <a:latin typeface="Arial" panose="020B0604020202020204"/>
              </a:endParaRPr>
            </a:p>
          </p:txBody>
        </p:sp>
        <p:sp>
          <p:nvSpPr>
            <p:cNvPr id="10" name="Freeform 10">
              <a:extLst>
                <a:ext uri="{FF2B5EF4-FFF2-40B4-BE49-F238E27FC236}">
                  <a16:creationId xmlns:a16="http://schemas.microsoft.com/office/drawing/2014/main" id="{E60BBA81-D721-E617-7E2A-79F12D8B7FAB}"/>
                </a:ext>
              </a:extLst>
            </p:cNvPr>
            <p:cNvSpPr>
              <a:spLocks/>
            </p:cNvSpPr>
            <p:nvPr/>
          </p:nvSpPr>
          <p:spPr bwMode="auto">
            <a:xfrm>
              <a:off x="3383756" y="2295358"/>
              <a:ext cx="144066" cy="209550"/>
            </a:xfrm>
            <a:custGeom>
              <a:avLst/>
              <a:gdLst>
                <a:gd name="T0" fmla="*/ 0 w 70"/>
                <a:gd name="T1" fmla="*/ 5 h 102"/>
                <a:gd name="T2" fmla="*/ 0 w 70"/>
                <a:gd name="T3" fmla="*/ 97 h 102"/>
                <a:gd name="T4" fmla="*/ 6 w 70"/>
                <a:gd name="T5" fmla="*/ 102 h 102"/>
                <a:gd name="T6" fmla="*/ 65 w 70"/>
                <a:gd name="T7" fmla="*/ 102 h 102"/>
                <a:gd name="T8" fmla="*/ 70 w 70"/>
                <a:gd name="T9" fmla="*/ 97 h 102"/>
                <a:gd name="T10" fmla="*/ 70 w 70"/>
                <a:gd name="T11" fmla="*/ 5 h 102"/>
                <a:gd name="T12" fmla="*/ 65 w 70"/>
                <a:gd name="T13" fmla="*/ 0 h 102"/>
                <a:gd name="T14" fmla="*/ 6 w 70"/>
                <a:gd name="T15" fmla="*/ 0 h 102"/>
                <a:gd name="T16" fmla="*/ 0 w 70"/>
                <a:gd name="T17" fmla="*/ 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2">
                  <a:moveTo>
                    <a:pt x="0" y="5"/>
                  </a:moveTo>
                  <a:cubicBezTo>
                    <a:pt x="0" y="97"/>
                    <a:pt x="0" y="97"/>
                    <a:pt x="0" y="97"/>
                  </a:cubicBezTo>
                  <a:cubicBezTo>
                    <a:pt x="0" y="100"/>
                    <a:pt x="3" y="102"/>
                    <a:pt x="6" y="102"/>
                  </a:cubicBezTo>
                  <a:cubicBezTo>
                    <a:pt x="65" y="102"/>
                    <a:pt x="65" y="102"/>
                    <a:pt x="65" y="102"/>
                  </a:cubicBezTo>
                  <a:cubicBezTo>
                    <a:pt x="68" y="102"/>
                    <a:pt x="70" y="100"/>
                    <a:pt x="70" y="97"/>
                  </a:cubicBezTo>
                  <a:cubicBezTo>
                    <a:pt x="70" y="5"/>
                    <a:pt x="70" y="5"/>
                    <a:pt x="70" y="5"/>
                  </a:cubicBezTo>
                  <a:cubicBezTo>
                    <a:pt x="70" y="2"/>
                    <a:pt x="68" y="0"/>
                    <a:pt x="65" y="0"/>
                  </a:cubicBezTo>
                  <a:cubicBezTo>
                    <a:pt x="6" y="0"/>
                    <a:pt x="6" y="0"/>
                    <a:pt x="6" y="0"/>
                  </a:cubicBezTo>
                  <a:cubicBezTo>
                    <a:pt x="3" y="0"/>
                    <a:pt x="0" y="2"/>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41">
                <a:defRPr/>
              </a:pPr>
              <a:endParaRPr lang="pt-BR" sz="1185">
                <a:solidFill>
                  <a:prstClr val="black"/>
                </a:solidFill>
                <a:latin typeface="Arial" panose="020B0604020202020204"/>
              </a:endParaRPr>
            </a:p>
          </p:txBody>
        </p:sp>
        <p:sp>
          <p:nvSpPr>
            <p:cNvPr id="11" name="Freeform 11">
              <a:extLst>
                <a:ext uri="{FF2B5EF4-FFF2-40B4-BE49-F238E27FC236}">
                  <a16:creationId xmlns:a16="http://schemas.microsoft.com/office/drawing/2014/main" id="{81764FF2-1FD6-C759-2425-2D257DEAF62B}"/>
                </a:ext>
              </a:extLst>
            </p:cNvPr>
            <p:cNvSpPr>
              <a:spLocks/>
            </p:cNvSpPr>
            <p:nvPr/>
          </p:nvSpPr>
          <p:spPr bwMode="auto">
            <a:xfrm>
              <a:off x="3383756" y="2750178"/>
              <a:ext cx="144066" cy="211931"/>
            </a:xfrm>
            <a:custGeom>
              <a:avLst/>
              <a:gdLst>
                <a:gd name="T0" fmla="*/ 0 w 70"/>
                <a:gd name="T1" fmla="*/ 5 h 103"/>
                <a:gd name="T2" fmla="*/ 0 w 70"/>
                <a:gd name="T3" fmla="*/ 98 h 103"/>
                <a:gd name="T4" fmla="*/ 6 w 70"/>
                <a:gd name="T5" fmla="*/ 103 h 103"/>
                <a:gd name="T6" fmla="*/ 65 w 70"/>
                <a:gd name="T7" fmla="*/ 103 h 103"/>
                <a:gd name="T8" fmla="*/ 70 w 70"/>
                <a:gd name="T9" fmla="*/ 98 h 103"/>
                <a:gd name="T10" fmla="*/ 70 w 70"/>
                <a:gd name="T11" fmla="*/ 5 h 103"/>
                <a:gd name="T12" fmla="*/ 65 w 70"/>
                <a:gd name="T13" fmla="*/ 0 h 103"/>
                <a:gd name="T14" fmla="*/ 6 w 70"/>
                <a:gd name="T15" fmla="*/ 0 h 103"/>
                <a:gd name="T16" fmla="*/ 0 w 70"/>
                <a:gd name="T17" fmla="*/ 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3">
                  <a:moveTo>
                    <a:pt x="0" y="5"/>
                  </a:moveTo>
                  <a:cubicBezTo>
                    <a:pt x="0" y="98"/>
                    <a:pt x="0" y="98"/>
                    <a:pt x="0" y="98"/>
                  </a:cubicBezTo>
                  <a:cubicBezTo>
                    <a:pt x="0" y="101"/>
                    <a:pt x="3" y="103"/>
                    <a:pt x="6" y="103"/>
                  </a:cubicBezTo>
                  <a:cubicBezTo>
                    <a:pt x="65" y="103"/>
                    <a:pt x="65" y="103"/>
                    <a:pt x="65" y="103"/>
                  </a:cubicBezTo>
                  <a:cubicBezTo>
                    <a:pt x="68" y="103"/>
                    <a:pt x="70" y="101"/>
                    <a:pt x="70" y="98"/>
                  </a:cubicBezTo>
                  <a:cubicBezTo>
                    <a:pt x="70" y="5"/>
                    <a:pt x="70" y="5"/>
                    <a:pt x="70" y="5"/>
                  </a:cubicBezTo>
                  <a:cubicBezTo>
                    <a:pt x="70" y="3"/>
                    <a:pt x="68" y="0"/>
                    <a:pt x="65" y="0"/>
                  </a:cubicBezTo>
                  <a:cubicBezTo>
                    <a:pt x="6" y="0"/>
                    <a:pt x="6" y="0"/>
                    <a:pt x="6" y="0"/>
                  </a:cubicBezTo>
                  <a:cubicBezTo>
                    <a:pt x="3" y="0"/>
                    <a:pt x="0" y="3"/>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41">
                <a:defRPr/>
              </a:pPr>
              <a:endParaRPr lang="pt-BR" sz="1185">
                <a:solidFill>
                  <a:prstClr val="black"/>
                </a:solidFill>
                <a:latin typeface="Arial" panose="020B0604020202020204"/>
              </a:endParaRPr>
            </a:p>
          </p:txBody>
        </p:sp>
        <p:pic>
          <p:nvPicPr>
            <p:cNvPr id="12" name="Picture 11">
              <a:extLst>
                <a:ext uri="{FF2B5EF4-FFF2-40B4-BE49-F238E27FC236}">
                  <a16:creationId xmlns:a16="http://schemas.microsoft.com/office/drawing/2014/main" id="{D0769FC4-E057-C993-5606-DE580491092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73276"/>
            <a:stretch/>
          </p:blipFill>
          <p:spPr>
            <a:xfrm>
              <a:off x="3760979" y="2292518"/>
              <a:ext cx="138075" cy="667570"/>
            </a:xfrm>
            <a:prstGeom prst="rect">
              <a:avLst/>
            </a:prstGeom>
          </p:spPr>
        </p:pic>
        <p:pic>
          <p:nvPicPr>
            <p:cNvPr id="13" name="Picture 12">
              <a:extLst>
                <a:ext uri="{FF2B5EF4-FFF2-40B4-BE49-F238E27FC236}">
                  <a16:creationId xmlns:a16="http://schemas.microsoft.com/office/drawing/2014/main" id="{BB86B5C0-20EB-41C7-6301-70403D950F8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69" t="37739" r="27569" b="36742"/>
            <a:stretch/>
          </p:blipFill>
          <p:spPr>
            <a:xfrm>
              <a:off x="3370030" y="2544450"/>
              <a:ext cx="390950" cy="170358"/>
            </a:xfrm>
            <a:prstGeom prst="rect">
              <a:avLst/>
            </a:prstGeom>
          </p:spPr>
        </p:pic>
        <p:pic>
          <p:nvPicPr>
            <p:cNvPr id="14" name="Picture 13">
              <a:extLst>
                <a:ext uri="{FF2B5EF4-FFF2-40B4-BE49-F238E27FC236}">
                  <a16:creationId xmlns:a16="http://schemas.microsoft.com/office/drawing/2014/main" id="{FA1DE964-397A-044A-C6F0-3408C7313E9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1516" r="70766"/>
            <a:stretch/>
          </p:blipFill>
          <p:spPr>
            <a:xfrm>
              <a:off x="4769823" y="2439785"/>
              <a:ext cx="144365" cy="523938"/>
            </a:xfrm>
            <a:prstGeom prst="rect">
              <a:avLst/>
            </a:prstGeom>
          </p:spPr>
        </p:pic>
        <p:pic>
          <p:nvPicPr>
            <p:cNvPr id="15" name="Picture 14">
              <a:extLst>
                <a:ext uri="{FF2B5EF4-FFF2-40B4-BE49-F238E27FC236}">
                  <a16:creationId xmlns:a16="http://schemas.microsoft.com/office/drawing/2014/main" id="{6F26CE94-8077-1E29-4A7E-FB37CD859F0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41548" y="2260711"/>
              <a:ext cx="530398" cy="704149"/>
            </a:xfrm>
            <a:prstGeom prst="rect">
              <a:avLst/>
            </a:prstGeom>
          </p:spPr>
        </p:pic>
      </p:grpSp>
      <p:cxnSp>
        <p:nvCxnSpPr>
          <p:cNvPr id="16" name="Straight Connector 15">
            <a:extLst>
              <a:ext uri="{FF2B5EF4-FFF2-40B4-BE49-F238E27FC236}">
                <a16:creationId xmlns:a16="http://schemas.microsoft.com/office/drawing/2014/main" id="{326ABA83-EB77-2D6F-5CA1-17FB57906FA3}"/>
              </a:ext>
            </a:extLst>
          </p:cNvPr>
          <p:cNvCxnSpPr>
            <a:cxnSpLocks/>
          </p:cNvCxnSpPr>
          <p:nvPr userDrawn="1"/>
        </p:nvCxnSpPr>
        <p:spPr>
          <a:xfrm>
            <a:off x="711015" y="1336545"/>
            <a:ext cx="439032"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142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A3C9E-CD93-8C01-67B7-775602E4D227}"/>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95CC89FF-16A1-229D-F206-FE090A1BA2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74650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056496"/>
      </p:ext>
    </p:extLst>
  </p:cSld>
  <p:clrMapOvr>
    <a:masterClrMapping/>
  </p:clrMapOvr>
  <p:extLst>
    <p:ext uri="{DCECCB84-F9BA-43D5-87BE-67443E8EF086}">
      <p15:sldGuideLst xmlns:p15="http://schemas.microsoft.com/office/powerpoint/2012/main">
        <p15:guide id="1" orient="horz" pos="2160">
          <p15:clr>
            <a:srgbClr val="FBAE40"/>
          </p15:clr>
        </p15:guide>
        <p15:guide id="2" pos="438">
          <p15:clr>
            <a:srgbClr val="FBAE40"/>
          </p15:clr>
        </p15:guide>
        <p15:guide id="3" pos="724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0693400" cy="6914198"/>
          </a:xfrm>
          <a:custGeom>
            <a:avLst/>
            <a:gdLst/>
            <a:ahLst/>
            <a:cxnLst/>
            <a:rect l="l" t="t" r="r" b="b"/>
            <a:pathLst>
              <a:path w="12192000" h="6275070">
                <a:moveTo>
                  <a:pt x="0" y="6274448"/>
                </a:moveTo>
                <a:lnTo>
                  <a:pt x="12192000" y="6274448"/>
                </a:lnTo>
                <a:lnTo>
                  <a:pt x="12192000" y="0"/>
                </a:lnTo>
                <a:lnTo>
                  <a:pt x="0" y="0"/>
                </a:lnTo>
                <a:lnTo>
                  <a:pt x="0" y="6274448"/>
                </a:lnTo>
                <a:close/>
              </a:path>
            </a:pathLst>
          </a:custGeom>
          <a:solidFill>
            <a:srgbClr val="1F2C68"/>
          </a:solidFill>
        </p:spPr>
        <p:txBody>
          <a:bodyPr wrap="square" lIns="0" tIns="0" rIns="0" bIns="0" rtlCol="0"/>
          <a:lstStyle/>
          <a:p>
            <a:endParaRPr/>
          </a:p>
        </p:txBody>
      </p:sp>
      <p:sp>
        <p:nvSpPr>
          <p:cNvPr id="17" name="bg object 17"/>
          <p:cNvSpPr/>
          <p:nvPr/>
        </p:nvSpPr>
        <p:spPr>
          <a:xfrm>
            <a:off x="0" y="6913512"/>
            <a:ext cx="10693400" cy="643002"/>
          </a:xfrm>
          <a:custGeom>
            <a:avLst/>
            <a:gdLst/>
            <a:ahLst/>
            <a:cxnLst/>
            <a:rect l="l" t="t" r="r" b="b"/>
            <a:pathLst>
              <a:path w="12192000" h="583565">
                <a:moveTo>
                  <a:pt x="12192000" y="0"/>
                </a:moveTo>
                <a:lnTo>
                  <a:pt x="0" y="0"/>
                </a:lnTo>
                <a:lnTo>
                  <a:pt x="0" y="583552"/>
                </a:lnTo>
                <a:lnTo>
                  <a:pt x="12192000" y="583552"/>
                </a:lnTo>
                <a:lnTo>
                  <a:pt x="12192000" y="0"/>
                </a:lnTo>
                <a:close/>
              </a:path>
            </a:pathLst>
          </a:custGeom>
          <a:solidFill>
            <a:srgbClr val="293B8A"/>
          </a:solidFill>
        </p:spPr>
        <p:txBody>
          <a:bodyPr wrap="square" lIns="0" tIns="0" rIns="0" bIns="0" rtlCol="0"/>
          <a:lstStyle/>
          <a:p>
            <a:endParaRPr/>
          </a:p>
        </p:txBody>
      </p:sp>
      <p:pic>
        <p:nvPicPr>
          <p:cNvPr id="18" name="bg object 18"/>
          <p:cNvPicPr/>
          <p:nvPr/>
        </p:nvPicPr>
        <p:blipFill>
          <a:blip r:embed="rId2" cstate="print"/>
          <a:stretch>
            <a:fillRect/>
          </a:stretch>
        </p:blipFill>
        <p:spPr>
          <a:xfrm>
            <a:off x="1064573" y="7152493"/>
            <a:ext cx="108805" cy="93126"/>
          </a:xfrm>
          <a:prstGeom prst="rect">
            <a:avLst/>
          </a:prstGeom>
        </p:spPr>
      </p:pic>
      <p:pic>
        <p:nvPicPr>
          <p:cNvPr id="19" name="bg object 19"/>
          <p:cNvPicPr/>
          <p:nvPr/>
        </p:nvPicPr>
        <p:blipFill>
          <a:blip r:embed="rId3" cstate="print"/>
          <a:stretch>
            <a:fillRect/>
          </a:stretch>
        </p:blipFill>
        <p:spPr>
          <a:xfrm>
            <a:off x="784506" y="7153122"/>
            <a:ext cx="112336" cy="181482"/>
          </a:xfrm>
          <a:prstGeom prst="rect">
            <a:avLst/>
          </a:prstGeom>
        </p:spPr>
      </p:pic>
      <p:sp>
        <p:nvSpPr>
          <p:cNvPr id="20" name="bg object 20"/>
          <p:cNvSpPr/>
          <p:nvPr/>
        </p:nvSpPr>
        <p:spPr>
          <a:xfrm>
            <a:off x="638273" y="7153123"/>
            <a:ext cx="30632" cy="178417"/>
          </a:xfrm>
          <a:custGeom>
            <a:avLst/>
            <a:gdLst/>
            <a:ahLst/>
            <a:cxnLst/>
            <a:rect l="l" t="t" r="r" b="b"/>
            <a:pathLst>
              <a:path w="34925" h="161925">
                <a:moveTo>
                  <a:pt x="34899" y="111683"/>
                </a:moveTo>
                <a:lnTo>
                  <a:pt x="33896" y="110197"/>
                </a:lnTo>
                <a:lnTo>
                  <a:pt x="1485" y="110197"/>
                </a:lnTo>
                <a:lnTo>
                  <a:pt x="0" y="111683"/>
                </a:lnTo>
                <a:lnTo>
                  <a:pt x="0" y="112687"/>
                </a:lnTo>
                <a:lnTo>
                  <a:pt x="0" y="160553"/>
                </a:lnTo>
                <a:lnTo>
                  <a:pt x="1485" y="161531"/>
                </a:lnTo>
                <a:lnTo>
                  <a:pt x="33896" y="161531"/>
                </a:lnTo>
                <a:lnTo>
                  <a:pt x="34899" y="160553"/>
                </a:lnTo>
                <a:lnTo>
                  <a:pt x="34899" y="111683"/>
                </a:lnTo>
                <a:close/>
              </a:path>
              <a:path w="34925" h="161925">
                <a:moveTo>
                  <a:pt x="34899" y="990"/>
                </a:moveTo>
                <a:lnTo>
                  <a:pt x="33896" y="0"/>
                </a:lnTo>
                <a:lnTo>
                  <a:pt x="1485" y="0"/>
                </a:lnTo>
                <a:lnTo>
                  <a:pt x="0" y="990"/>
                </a:lnTo>
                <a:lnTo>
                  <a:pt x="0" y="2489"/>
                </a:lnTo>
                <a:lnTo>
                  <a:pt x="0" y="49771"/>
                </a:lnTo>
                <a:lnTo>
                  <a:pt x="1485" y="50774"/>
                </a:lnTo>
                <a:lnTo>
                  <a:pt x="33896" y="50774"/>
                </a:lnTo>
                <a:lnTo>
                  <a:pt x="34899" y="49771"/>
                </a:lnTo>
                <a:lnTo>
                  <a:pt x="34899" y="990"/>
                </a:lnTo>
                <a:close/>
              </a:path>
            </a:pathLst>
          </a:custGeom>
          <a:solidFill>
            <a:srgbClr val="FFFFFF"/>
          </a:solidFill>
        </p:spPr>
        <p:txBody>
          <a:bodyPr wrap="square" lIns="0" tIns="0" rIns="0" bIns="0" rtlCol="0"/>
          <a:lstStyle/>
          <a:p>
            <a:endParaRPr/>
          </a:p>
        </p:txBody>
      </p:sp>
      <p:pic>
        <p:nvPicPr>
          <p:cNvPr id="21" name="bg object 21"/>
          <p:cNvPicPr/>
          <p:nvPr/>
        </p:nvPicPr>
        <p:blipFill>
          <a:blip r:embed="rId4" cstate="print"/>
          <a:stretch>
            <a:fillRect/>
          </a:stretch>
        </p:blipFill>
        <p:spPr>
          <a:xfrm>
            <a:off x="637549" y="7152366"/>
            <a:ext cx="110220" cy="178207"/>
          </a:xfrm>
          <a:prstGeom prst="rect">
            <a:avLst/>
          </a:prstGeom>
        </p:spPr>
      </p:pic>
      <p:pic>
        <p:nvPicPr>
          <p:cNvPr id="22" name="bg object 22"/>
          <p:cNvPicPr/>
          <p:nvPr/>
        </p:nvPicPr>
        <p:blipFill>
          <a:blip r:embed="rId5" cstate="print"/>
          <a:stretch>
            <a:fillRect/>
          </a:stretch>
        </p:blipFill>
        <p:spPr>
          <a:xfrm>
            <a:off x="932799" y="7191673"/>
            <a:ext cx="30676" cy="139866"/>
          </a:xfrm>
          <a:prstGeom prst="rect">
            <a:avLst/>
          </a:prstGeom>
        </p:spPr>
      </p:pic>
      <p:pic>
        <p:nvPicPr>
          <p:cNvPr id="23" name="bg object 23"/>
          <p:cNvPicPr/>
          <p:nvPr/>
        </p:nvPicPr>
        <p:blipFill>
          <a:blip r:embed="rId6" cstate="print"/>
          <a:stretch>
            <a:fillRect/>
          </a:stretch>
        </p:blipFill>
        <p:spPr>
          <a:xfrm>
            <a:off x="926795" y="7143873"/>
            <a:ext cx="112703" cy="187975"/>
          </a:xfrm>
          <a:prstGeom prst="rect">
            <a:avLst/>
          </a:prstGeom>
        </p:spPr>
      </p:pic>
      <p:sp>
        <p:nvSpPr>
          <p:cNvPr id="2" name="Holder 2"/>
          <p:cNvSpPr>
            <a:spLocks noGrp="1"/>
          </p:cNvSpPr>
          <p:nvPr>
            <p:ph type="title"/>
          </p:nvPr>
        </p:nvSpPr>
        <p:spPr>
          <a:xfrm>
            <a:off x="702646" y="149535"/>
            <a:ext cx="8725703" cy="431978"/>
          </a:xfrm>
        </p:spPr>
        <p:txBody>
          <a:bodyPr lIns="0" tIns="0" rIns="0" bIns="0"/>
          <a:lstStyle>
            <a:lvl1pPr>
              <a:defRPr sz="2807" b="0" i="0">
                <a:solidFill>
                  <a:schemeClr val="bg1"/>
                </a:solidFill>
                <a:latin typeface="Arial"/>
                <a:cs typeface="Arial"/>
              </a:defRPr>
            </a:lvl1pPr>
          </a:lstStyle>
          <a:p>
            <a:endParaRPr/>
          </a:p>
        </p:txBody>
      </p:sp>
      <p:sp>
        <p:nvSpPr>
          <p:cNvPr id="3" name="Holder 3"/>
          <p:cNvSpPr>
            <a:spLocks noGrp="1"/>
          </p:cNvSpPr>
          <p:nvPr>
            <p:ph sz="half" idx="2"/>
          </p:nvPr>
        </p:nvSpPr>
        <p:spPr>
          <a:xfrm>
            <a:off x="534670" y="1737995"/>
            <a:ext cx="465162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617599" y="1845857"/>
            <a:ext cx="4619326" cy="148502"/>
          </a:xfrm>
          <a:prstGeom prst="rect">
            <a:avLst/>
          </a:prstGeom>
        </p:spPr>
        <p:txBody>
          <a:bodyPr wrap="square" lIns="0" tIns="0" rIns="0" bIns="0">
            <a:spAutoFit/>
          </a:bodyPr>
          <a:lstStyle>
            <a:lvl1pPr>
              <a:defRPr sz="965" b="0" i="0">
                <a:solidFill>
                  <a:schemeClr val="bg1"/>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24990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sz="half" idx="2"/>
          </p:nvPr>
        </p:nvSpPr>
        <p:spPr>
          <a:xfrm>
            <a:off x="534670" y="1737995"/>
            <a:ext cx="4651629" cy="498729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507101" y="1737995"/>
            <a:ext cx="4651629" cy="498729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D7C49418-D784-4AAA-B048-A818C13D832E}" type="datetime1">
              <a:rPr lang="en-US" smtClean="0"/>
              <a:t>5/15/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DD8A3D71-A3C3-496B-B466-80229EADA3F5}" type="datetime1">
              <a:rPr lang="en-US" smtClean="0"/>
              <a:t>5/15/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EAC2A1F4-3DF8-49E6-9071-DE77EF414315}" type="datetime1">
              <a:rPr lang="en-US" smtClean="0"/>
              <a:t>5/15/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B79AD2B5-34DE-4168-8A9B-A3E05BBDFC4C}" type="datetime1">
              <a:rPr lang="en-US" smtClean="0"/>
              <a:t>5/15/20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BA04D19B-AA63-4586-BD57-1F601D5F1DA2}"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802005" y="2342515"/>
            <a:ext cx="9089390" cy="343043"/>
          </a:xfrm>
          <a:prstGeom prst="rect">
            <a:avLst/>
          </a:prstGeom>
        </p:spPr>
        <p:txBody>
          <a:bodyPr wrap="square" lIns="0" tIns="0" rIns="0" bIns="0">
            <a:spAutoFit/>
          </a:bodyPr>
          <a:lstStyle>
            <a:lvl1pPr>
              <a:defRPr sz="2229" b="0" i="0">
                <a:solidFill>
                  <a:srgbClr val="2E3841"/>
                </a:solidFill>
                <a:latin typeface="Montserrat Medium"/>
                <a:cs typeface="Montserrat Medium"/>
              </a:defRPr>
            </a:lvl1pPr>
          </a:lstStyle>
          <a:p>
            <a:endParaRPr/>
          </a:p>
        </p:txBody>
      </p:sp>
      <p:sp>
        <p:nvSpPr>
          <p:cNvPr id="3" name="Holder 3"/>
          <p:cNvSpPr>
            <a:spLocks noGrp="1"/>
          </p:cNvSpPr>
          <p:nvPr>
            <p:ph type="subTitle" idx="4"/>
          </p:nvPr>
        </p:nvSpPr>
        <p:spPr>
          <a:xfrm>
            <a:off x="1604010" y="4231640"/>
            <a:ext cx="748538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39D93F13-01BF-4067-965F-AABA6DB6A38A}"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201005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169457" y="1054101"/>
            <a:ext cx="4477385" cy="343043"/>
          </a:xfrm>
        </p:spPr>
        <p:txBody>
          <a:bodyPr lIns="0" tIns="0" rIns="0" bIns="0"/>
          <a:lstStyle>
            <a:lvl1pPr>
              <a:defRPr sz="2229"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68336D2-38FE-4D1D-B4F3-CD6B207E6A14}" type="datetime1">
              <a:rPr lang="en-US" smtClean="0"/>
              <a:t>5/1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601533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25.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0.xml"/><Relationship Id="rId7" Type="http://schemas.openxmlformats.org/officeDocument/2006/relationships/image" Target="../media/image1.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3.xml"/><Relationship Id="rId5" Type="http://schemas.openxmlformats.org/officeDocument/2006/relationships/slideLayout" Target="../slideLayouts/slideLayout12.xml"/><Relationship Id="rId10" Type="http://schemas.openxmlformats.org/officeDocument/2006/relationships/image" Target="../media/image4.png"/><Relationship Id="rId4" Type="http://schemas.openxmlformats.org/officeDocument/2006/relationships/slideLayout" Target="../slideLayouts/slideLayout11.xml"/><Relationship Id="rId9"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1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1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1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9.xml"/><Relationship Id="rId7" Type="http://schemas.openxmlformats.org/officeDocument/2006/relationships/image" Target="../media/image1.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8.xml"/><Relationship Id="rId5" Type="http://schemas.openxmlformats.org/officeDocument/2006/relationships/slideLayout" Target="../slideLayouts/slideLayout21.xml"/><Relationship Id="rId10" Type="http://schemas.openxmlformats.org/officeDocument/2006/relationships/image" Target="../media/image4.png"/><Relationship Id="rId4" Type="http://schemas.openxmlformats.org/officeDocument/2006/relationships/slideLayout" Target="../slideLayouts/slideLayout20.xml"/><Relationship Id="rId9"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4.xml"/><Relationship Id="rId7" Type="http://schemas.openxmlformats.org/officeDocument/2006/relationships/image" Target="../media/image5.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1.bin"/><Relationship Id="rId5" Type="http://schemas.openxmlformats.org/officeDocument/2006/relationships/tags" Target="../tags/tag1.xml"/><Relationship Id="rId10" Type="http://schemas.openxmlformats.org/officeDocument/2006/relationships/image" Target="../media/image8.png"/><Relationship Id="rId4" Type="http://schemas.openxmlformats.org/officeDocument/2006/relationships/theme" Target="../theme/theme9.xml"/><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26414"/>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pic>
        <p:nvPicPr>
          <p:cNvPr id="17" name="bg object 17"/>
          <p:cNvPicPr/>
          <p:nvPr/>
        </p:nvPicPr>
        <p:blipFill>
          <a:blip r:embed="rId7" cstate="print"/>
          <a:stretch>
            <a:fillRect/>
          </a:stretch>
        </p:blipFill>
        <p:spPr>
          <a:xfrm>
            <a:off x="750707" y="855350"/>
            <a:ext cx="140559" cy="140559"/>
          </a:xfrm>
          <a:prstGeom prst="rect">
            <a:avLst/>
          </a:prstGeom>
        </p:spPr>
      </p:pic>
      <p:sp>
        <p:nvSpPr>
          <p:cNvPr id="18" name="bg object 18"/>
          <p:cNvSpPr/>
          <p:nvPr/>
        </p:nvSpPr>
        <p:spPr>
          <a:xfrm>
            <a:off x="820987" y="999089"/>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19" name="bg object 19"/>
          <p:cNvSpPr/>
          <p:nvPr/>
        </p:nvSpPr>
        <p:spPr>
          <a:xfrm>
            <a:off x="0" y="710916"/>
            <a:ext cx="9302115"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a:p>
        </p:txBody>
      </p:sp>
      <p:pic>
        <p:nvPicPr>
          <p:cNvPr id="21" name="bg object 21"/>
          <p:cNvPicPr/>
          <p:nvPr/>
        </p:nvPicPr>
        <p:blipFill>
          <a:blip r:embed="rId8" cstate="print"/>
          <a:stretch>
            <a:fillRect/>
          </a:stretch>
        </p:blipFill>
        <p:spPr>
          <a:xfrm>
            <a:off x="9490581" y="627912"/>
            <a:ext cx="133703" cy="166009"/>
          </a:xfrm>
          <a:prstGeom prst="rect">
            <a:avLst/>
          </a:prstGeom>
        </p:spPr>
      </p:pic>
      <p:pic>
        <p:nvPicPr>
          <p:cNvPr id="22" name="bg object 22"/>
          <p:cNvPicPr/>
          <p:nvPr/>
        </p:nvPicPr>
        <p:blipFill>
          <a:blip r:embed="rId9" cstate="print"/>
          <a:stretch>
            <a:fillRect/>
          </a:stretch>
        </p:blipFill>
        <p:spPr>
          <a:xfrm>
            <a:off x="9720562" y="630665"/>
            <a:ext cx="180336" cy="160501"/>
          </a:xfrm>
          <a:prstGeom prst="rect">
            <a:avLst/>
          </a:prstGeom>
        </p:spPr>
      </p:pic>
      <p:pic>
        <p:nvPicPr>
          <p:cNvPr id="23" name="bg object 23"/>
          <p:cNvPicPr/>
          <p:nvPr/>
        </p:nvPicPr>
        <p:blipFill>
          <a:blip r:embed="rId10" cstate="print"/>
          <a:stretch>
            <a:fillRect/>
          </a:stretch>
        </p:blipFill>
        <p:spPr>
          <a:xfrm>
            <a:off x="10009551" y="630665"/>
            <a:ext cx="147497" cy="160501"/>
          </a:xfrm>
          <a:prstGeom prst="rect">
            <a:avLst/>
          </a:prstGeom>
        </p:spPr>
      </p:pic>
      <p:sp>
        <p:nvSpPr>
          <p:cNvPr id="24" name="bg object 24"/>
          <p:cNvSpPr/>
          <p:nvPr/>
        </p:nvSpPr>
        <p:spPr>
          <a:xfrm>
            <a:off x="278271" y="1077360"/>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a:p>
        </p:txBody>
      </p:sp>
      <p:sp>
        <p:nvSpPr>
          <p:cNvPr id="25" name="bg object 25"/>
          <p:cNvSpPr/>
          <p:nvPr/>
        </p:nvSpPr>
        <p:spPr>
          <a:xfrm>
            <a:off x="199164" y="1159460"/>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
        <p:nvSpPr>
          <p:cNvPr id="2" name="Holder 2"/>
          <p:cNvSpPr>
            <a:spLocks noGrp="1"/>
          </p:cNvSpPr>
          <p:nvPr>
            <p:ph type="title"/>
          </p:nvPr>
        </p:nvSpPr>
        <p:spPr>
          <a:xfrm>
            <a:off x="1169456" y="1054100"/>
            <a:ext cx="4477385" cy="452119"/>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0" y="1737995"/>
            <a:ext cx="9624060" cy="4987290"/>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3635756" y="7027545"/>
            <a:ext cx="3421888" cy="37782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377825"/>
          </a:xfrm>
          <a:prstGeom prst="rect">
            <a:avLst/>
          </a:prstGeom>
        </p:spPr>
        <p:txBody>
          <a:bodyPr wrap="square" lIns="0" tIns="0" rIns="0" bIns="0">
            <a:spAutoFit/>
          </a:bodyPr>
          <a:lstStyle>
            <a:lvl1pPr algn="l">
              <a:defRPr>
                <a:solidFill>
                  <a:schemeClr val="tx1">
                    <a:tint val="75000"/>
                  </a:schemeClr>
                </a:solidFill>
              </a:defRPr>
            </a:lvl1pPr>
          </a:lstStyle>
          <a:p>
            <a:fld id="{8B4EFBBD-B012-4C80-9F92-173D731B5E8B}" type="datetime1">
              <a:rPr lang="en-US" smtClean="0"/>
              <a:t>5/15/2025</a:t>
            </a:fld>
            <a:endParaRPr lang="en-US"/>
          </a:p>
        </p:txBody>
      </p:sp>
      <p:sp>
        <p:nvSpPr>
          <p:cNvPr id="6" name="Holder 6"/>
          <p:cNvSpPr>
            <a:spLocks noGrp="1"/>
          </p:cNvSpPr>
          <p:nvPr>
            <p:ph type="sldNum" sz="quarter" idx="7"/>
          </p:nvPr>
        </p:nvSpPr>
        <p:spPr>
          <a:xfrm>
            <a:off x="7699248" y="7027545"/>
            <a:ext cx="2459482" cy="37782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0" y="935938"/>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7"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4" y="1168985"/>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Tree>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02646" y="149535"/>
            <a:ext cx="8725703" cy="492443"/>
          </a:xfrm>
          <a:prstGeom prst="rect">
            <a:avLst/>
          </a:prstGeom>
        </p:spPr>
        <p:txBody>
          <a:bodyPr wrap="square" lIns="0" tIns="0" rIns="0" bIns="0">
            <a:spAutoFit/>
          </a:bodyPr>
          <a:lstStyle>
            <a:lvl1pPr>
              <a:defRPr sz="3200" b="0" i="0">
                <a:solidFill>
                  <a:schemeClr val="bg1"/>
                </a:solidFill>
                <a:latin typeface="Arial"/>
                <a:cs typeface="Arial"/>
              </a:defRPr>
            </a:lvl1pPr>
          </a:lstStyle>
          <a:p>
            <a:endParaRPr/>
          </a:p>
        </p:txBody>
      </p:sp>
      <p:sp>
        <p:nvSpPr>
          <p:cNvPr id="3" name="Holder 3"/>
          <p:cNvSpPr>
            <a:spLocks noGrp="1"/>
          </p:cNvSpPr>
          <p:nvPr>
            <p:ph type="body" idx="1"/>
          </p:nvPr>
        </p:nvSpPr>
        <p:spPr>
          <a:xfrm>
            <a:off x="677593" y="3658032"/>
            <a:ext cx="4569201"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635756" y="7027545"/>
            <a:ext cx="342188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6" name="Holder 6"/>
          <p:cNvSpPr>
            <a:spLocks noGrp="1"/>
          </p:cNvSpPr>
          <p:nvPr>
            <p:ph type="sldNum" sz="quarter" idx="7"/>
          </p:nvPr>
        </p:nvSpPr>
        <p:spPr>
          <a:xfrm>
            <a:off x="7699248" y="7027545"/>
            <a:ext cx="245948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43612667"/>
      </p:ext>
    </p:extLst>
  </p:cSld>
  <p:clrMap bg1="lt1" tx1="dk1" bg2="lt2" tx2="dk2" accent1="accent1" accent2="accent2" accent3="accent3" accent4="accent4" accent5="accent5" accent6="accent6" hlink="hlink" folHlink="folHlink"/>
  <p:sldLayoutIdLst>
    <p:sldLayoutId id="2147483696" r:id="rId1"/>
  </p:sldLayoutIdLst>
  <p:txStyles>
    <p:titleStyle>
      <a:lvl1pPr>
        <a:defRPr>
          <a:latin typeface="+mj-lt"/>
          <a:ea typeface="+mj-ea"/>
          <a:cs typeface="+mj-cs"/>
        </a:defRPr>
      </a:lvl1pPr>
    </p:titleStyle>
    <p:bodyStyle>
      <a:lvl1pPr marL="0">
        <a:defRPr>
          <a:latin typeface="+mn-lt"/>
          <a:ea typeface="+mn-ea"/>
          <a:cs typeface="+mn-cs"/>
        </a:defRPr>
      </a:lvl1pPr>
      <a:lvl2pPr marL="401010">
        <a:defRPr>
          <a:latin typeface="+mn-lt"/>
          <a:ea typeface="+mn-ea"/>
          <a:cs typeface="+mn-cs"/>
        </a:defRPr>
      </a:lvl2pPr>
      <a:lvl3pPr marL="802020">
        <a:defRPr>
          <a:latin typeface="+mn-lt"/>
          <a:ea typeface="+mn-ea"/>
          <a:cs typeface="+mn-cs"/>
        </a:defRPr>
      </a:lvl3pPr>
      <a:lvl4pPr marL="1203030">
        <a:defRPr>
          <a:latin typeface="+mn-lt"/>
          <a:ea typeface="+mn-ea"/>
          <a:cs typeface="+mn-cs"/>
        </a:defRPr>
      </a:lvl4pPr>
      <a:lvl5pPr marL="1604040">
        <a:defRPr>
          <a:latin typeface="+mn-lt"/>
          <a:ea typeface="+mn-ea"/>
          <a:cs typeface="+mn-cs"/>
        </a:defRPr>
      </a:lvl5pPr>
      <a:lvl6pPr marL="2005051">
        <a:defRPr>
          <a:latin typeface="+mn-lt"/>
          <a:ea typeface="+mn-ea"/>
          <a:cs typeface="+mn-cs"/>
        </a:defRPr>
      </a:lvl6pPr>
      <a:lvl7pPr marL="2406061">
        <a:defRPr>
          <a:latin typeface="+mn-lt"/>
          <a:ea typeface="+mn-ea"/>
          <a:cs typeface="+mn-cs"/>
        </a:defRPr>
      </a:lvl7pPr>
      <a:lvl8pPr marL="2807071">
        <a:defRPr>
          <a:latin typeface="+mn-lt"/>
          <a:ea typeface="+mn-ea"/>
          <a:cs typeface="+mn-cs"/>
        </a:defRPr>
      </a:lvl8pPr>
      <a:lvl9pPr marL="3208081">
        <a:defRPr>
          <a:latin typeface="+mn-lt"/>
          <a:ea typeface="+mn-ea"/>
          <a:cs typeface="+mn-cs"/>
        </a:defRPr>
      </a:lvl9pPr>
    </p:bodyStyle>
    <p:otherStyle>
      <a:lvl1pPr marL="0">
        <a:defRPr>
          <a:latin typeface="+mn-lt"/>
          <a:ea typeface="+mn-ea"/>
          <a:cs typeface="+mn-cs"/>
        </a:defRPr>
      </a:lvl1pPr>
      <a:lvl2pPr marL="401010">
        <a:defRPr>
          <a:latin typeface="+mn-lt"/>
          <a:ea typeface="+mn-ea"/>
          <a:cs typeface="+mn-cs"/>
        </a:defRPr>
      </a:lvl2pPr>
      <a:lvl3pPr marL="802020">
        <a:defRPr>
          <a:latin typeface="+mn-lt"/>
          <a:ea typeface="+mn-ea"/>
          <a:cs typeface="+mn-cs"/>
        </a:defRPr>
      </a:lvl3pPr>
      <a:lvl4pPr marL="1203030">
        <a:defRPr>
          <a:latin typeface="+mn-lt"/>
          <a:ea typeface="+mn-ea"/>
          <a:cs typeface="+mn-cs"/>
        </a:defRPr>
      </a:lvl4pPr>
      <a:lvl5pPr marL="1604040">
        <a:defRPr>
          <a:latin typeface="+mn-lt"/>
          <a:ea typeface="+mn-ea"/>
          <a:cs typeface="+mn-cs"/>
        </a:defRPr>
      </a:lvl5pPr>
      <a:lvl6pPr marL="2005051">
        <a:defRPr>
          <a:latin typeface="+mn-lt"/>
          <a:ea typeface="+mn-ea"/>
          <a:cs typeface="+mn-cs"/>
        </a:defRPr>
      </a:lvl6pPr>
      <a:lvl7pPr marL="2406061">
        <a:defRPr>
          <a:latin typeface="+mn-lt"/>
          <a:ea typeface="+mn-ea"/>
          <a:cs typeface="+mn-cs"/>
        </a:defRPr>
      </a:lvl7pPr>
      <a:lvl8pPr marL="2807071">
        <a:defRPr>
          <a:latin typeface="+mn-lt"/>
          <a:ea typeface="+mn-ea"/>
          <a:cs typeface="+mn-cs"/>
        </a:defRPr>
      </a:lvl8pPr>
      <a:lvl9pPr marL="320808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26414"/>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pic>
        <p:nvPicPr>
          <p:cNvPr id="17" name="bg object 17"/>
          <p:cNvPicPr/>
          <p:nvPr/>
        </p:nvPicPr>
        <p:blipFill>
          <a:blip r:embed="rId4" cstate="print"/>
          <a:stretch>
            <a:fillRect/>
          </a:stretch>
        </p:blipFill>
        <p:spPr>
          <a:xfrm>
            <a:off x="750707" y="855350"/>
            <a:ext cx="140559" cy="140559"/>
          </a:xfrm>
          <a:prstGeom prst="rect">
            <a:avLst/>
          </a:prstGeom>
        </p:spPr>
      </p:pic>
      <p:sp>
        <p:nvSpPr>
          <p:cNvPr id="18" name="bg object 18"/>
          <p:cNvSpPr/>
          <p:nvPr/>
        </p:nvSpPr>
        <p:spPr>
          <a:xfrm>
            <a:off x="820987" y="999089"/>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19" name="bg object 19"/>
          <p:cNvSpPr/>
          <p:nvPr/>
        </p:nvSpPr>
        <p:spPr>
          <a:xfrm>
            <a:off x="0" y="710916"/>
            <a:ext cx="9302115"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a:p>
        </p:txBody>
      </p:sp>
      <p:pic>
        <p:nvPicPr>
          <p:cNvPr id="21" name="bg object 21"/>
          <p:cNvPicPr/>
          <p:nvPr/>
        </p:nvPicPr>
        <p:blipFill>
          <a:blip r:embed="rId5" cstate="print"/>
          <a:stretch>
            <a:fillRect/>
          </a:stretch>
        </p:blipFill>
        <p:spPr>
          <a:xfrm>
            <a:off x="9490581" y="627912"/>
            <a:ext cx="133703" cy="166009"/>
          </a:xfrm>
          <a:prstGeom prst="rect">
            <a:avLst/>
          </a:prstGeom>
        </p:spPr>
      </p:pic>
      <p:pic>
        <p:nvPicPr>
          <p:cNvPr id="22" name="bg object 22"/>
          <p:cNvPicPr/>
          <p:nvPr/>
        </p:nvPicPr>
        <p:blipFill>
          <a:blip r:embed="rId6" cstate="print"/>
          <a:stretch>
            <a:fillRect/>
          </a:stretch>
        </p:blipFill>
        <p:spPr>
          <a:xfrm>
            <a:off x="9720562" y="630665"/>
            <a:ext cx="180336" cy="160501"/>
          </a:xfrm>
          <a:prstGeom prst="rect">
            <a:avLst/>
          </a:prstGeom>
        </p:spPr>
      </p:pic>
      <p:pic>
        <p:nvPicPr>
          <p:cNvPr id="23" name="bg object 23"/>
          <p:cNvPicPr/>
          <p:nvPr/>
        </p:nvPicPr>
        <p:blipFill>
          <a:blip r:embed="rId7" cstate="print"/>
          <a:stretch>
            <a:fillRect/>
          </a:stretch>
        </p:blipFill>
        <p:spPr>
          <a:xfrm>
            <a:off x="10009551" y="630665"/>
            <a:ext cx="147497" cy="160501"/>
          </a:xfrm>
          <a:prstGeom prst="rect">
            <a:avLst/>
          </a:prstGeom>
        </p:spPr>
      </p:pic>
      <p:sp>
        <p:nvSpPr>
          <p:cNvPr id="24" name="bg object 24"/>
          <p:cNvSpPr/>
          <p:nvPr/>
        </p:nvSpPr>
        <p:spPr>
          <a:xfrm>
            <a:off x="278271" y="1077360"/>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a:p>
        </p:txBody>
      </p:sp>
      <p:sp>
        <p:nvSpPr>
          <p:cNvPr id="25" name="bg object 25"/>
          <p:cNvSpPr/>
          <p:nvPr/>
        </p:nvSpPr>
        <p:spPr>
          <a:xfrm>
            <a:off x="199164" y="1159460"/>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
        <p:nvSpPr>
          <p:cNvPr id="2" name="Holder 2"/>
          <p:cNvSpPr>
            <a:spLocks noGrp="1"/>
          </p:cNvSpPr>
          <p:nvPr>
            <p:ph type="title"/>
          </p:nvPr>
        </p:nvSpPr>
        <p:spPr>
          <a:xfrm>
            <a:off x="1169456" y="1054100"/>
            <a:ext cx="4477385" cy="452119"/>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0" y="1737995"/>
            <a:ext cx="9624060" cy="4987290"/>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3635756" y="7027545"/>
            <a:ext cx="3421888" cy="37782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377825"/>
          </a:xfrm>
          <a:prstGeom prst="rect">
            <a:avLst/>
          </a:prstGeom>
        </p:spPr>
        <p:txBody>
          <a:bodyPr wrap="square" lIns="0" tIns="0" rIns="0" bIns="0">
            <a:spAutoFit/>
          </a:bodyPr>
          <a:lstStyle>
            <a:lvl1pPr algn="l">
              <a:defRPr>
                <a:solidFill>
                  <a:schemeClr val="tx1">
                    <a:tint val="75000"/>
                  </a:schemeClr>
                </a:solidFill>
              </a:defRPr>
            </a:lvl1pPr>
          </a:lstStyle>
          <a:p>
            <a:fld id="{4438C9FE-6298-494D-90D4-189C5B308964}" type="datetime1">
              <a:rPr lang="en-US" smtClean="0"/>
              <a:t>5/15/2025</a:t>
            </a:fld>
            <a:endParaRPr lang="en-US"/>
          </a:p>
        </p:txBody>
      </p:sp>
      <p:sp>
        <p:nvSpPr>
          <p:cNvPr id="6" name="Holder 6"/>
          <p:cNvSpPr>
            <a:spLocks noGrp="1"/>
          </p:cNvSpPr>
          <p:nvPr>
            <p:ph type="sldNum" sz="quarter" idx="7"/>
          </p:nvPr>
        </p:nvSpPr>
        <p:spPr>
          <a:xfrm>
            <a:off x="7699248" y="7027545"/>
            <a:ext cx="2459482" cy="37782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0" y="935938"/>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7"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4" y="1168985"/>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Tree>
  </p:cSld>
  <p:clrMap bg1="lt1" tx1="dk1" bg2="lt2" tx2="dk2" accent1="accent1" accent2="accent2" accent3="accent3" accent4="accent4" accent5="accent5" accent6="accent6" hlink="hlink" folHlink="folHlink"/>
  <p:sldLayoutIdLst>
    <p:sldLayoutId id="2147483665" r:id="rId1"/>
    <p:sldLayoutId id="2147483667" r:id="rId2"/>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26414"/>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sz="1433"/>
          </a:p>
        </p:txBody>
      </p:sp>
      <p:pic>
        <p:nvPicPr>
          <p:cNvPr id="17" name="bg object 17"/>
          <p:cNvPicPr/>
          <p:nvPr/>
        </p:nvPicPr>
        <p:blipFill>
          <a:blip r:embed="rId7" cstate="print"/>
          <a:stretch>
            <a:fillRect/>
          </a:stretch>
        </p:blipFill>
        <p:spPr>
          <a:xfrm>
            <a:off x="750708" y="855351"/>
            <a:ext cx="140559" cy="140559"/>
          </a:xfrm>
          <a:prstGeom prst="rect">
            <a:avLst/>
          </a:prstGeom>
        </p:spPr>
      </p:pic>
      <p:sp>
        <p:nvSpPr>
          <p:cNvPr id="18" name="bg object 18"/>
          <p:cNvSpPr/>
          <p:nvPr/>
        </p:nvSpPr>
        <p:spPr>
          <a:xfrm>
            <a:off x="820987" y="999090"/>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sz="1433"/>
          </a:p>
        </p:txBody>
      </p:sp>
      <p:sp>
        <p:nvSpPr>
          <p:cNvPr id="19" name="bg object 19"/>
          <p:cNvSpPr/>
          <p:nvPr/>
        </p:nvSpPr>
        <p:spPr>
          <a:xfrm>
            <a:off x="1" y="710916"/>
            <a:ext cx="9302115"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sz="1433"/>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sz="1433"/>
          </a:p>
        </p:txBody>
      </p:sp>
      <p:pic>
        <p:nvPicPr>
          <p:cNvPr id="21" name="bg object 21"/>
          <p:cNvPicPr/>
          <p:nvPr/>
        </p:nvPicPr>
        <p:blipFill>
          <a:blip r:embed="rId8" cstate="print"/>
          <a:stretch>
            <a:fillRect/>
          </a:stretch>
        </p:blipFill>
        <p:spPr>
          <a:xfrm>
            <a:off x="9490582" y="627913"/>
            <a:ext cx="133703" cy="166009"/>
          </a:xfrm>
          <a:prstGeom prst="rect">
            <a:avLst/>
          </a:prstGeom>
        </p:spPr>
      </p:pic>
      <p:pic>
        <p:nvPicPr>
          <p:cNvPr id="22" name="bg object 22"/>
          <p:cNvPicPr/>
          <p:nvPr/>
        </p:nvPicPr>
        <p:blipFill>
          <a:blip r:embed="rId9" cstate="print"/>
          <a:stretch>
            <a:fillRect/>
          </a:stretch>
        </p:blipFill>
        <p:spPr>
          <a:xfrm>
            <a:off x="9720563" y="630667"/>
            <a:ext cx="180336" cy="160501"/>
          </a:xfrm>
          <a:prstGeom prst="rect">
            <a:avLst/>
          </a:prstGeom>
        </p:spPr>
      </p:pic>
      <p:pic>
        <p:nvPicPr>
          <p:cNvPr id="23" name="bg object 23"/>
          <p:cNvPicPr/>
          <p:nvPr/>
        </p:nvPicPr>
        <p:blipFill>
          <a:blip r:embed="rId10" cstate="print"/>
          <a:stretch>
            <a:fillRect/>
          </a:stretch>
        </p:blipFill>
        <p:spPr>
          <a:xfrm>
            <a:off x="10009551" y="630667"/>
            <a:ext cx="147497" cy="160501"/>
          </a:xfrm>
          <a:prstGeom prst="rect">
            <a:avLst/>
          </a:prstGeom>
        </p:spPr>
      </p:pic>
      <p:sp>
        <p:nvSpPr>
          <p:cNvPr id="24" name="bg object 24"/>
          <p:cNvSpPr/>
          <p:nvPr/>
        </p:nvSpPr>
        <p:spPr>
          <a:xfrm>
            <a:off x="278271" y="1077361"/>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sz="1433"/>
          </a:p>
        </p:txBody>
      </p:sp>
      <p:sp>
        <p:nvSpPr>
          <p:cNvPr id="25" name="bg object 25"/>
          <p:cNvSpPr/>
          <p:nvPr/>
        </p:nvSpPr>
        <p:spPr>
          <a:xfrm>
            <a:off x="199164" y="1159460"/>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sz="1433"/>
          </a:p>
        </p:txBody>
      </p:sp>
      <p:sp>
        <p:nvSpPr>
          <p:cNvPr id="2" name="Holder 2"/>
          <p:cNvSpPr>
            <a:spLocks noGrp="1"/>
          </p:cNvSpPr>
          <p:nvPr>
            <p:ph type="title"/>
          </p:nvPr>
        </p:nvSpPr>
        <p:spPr>
          <a:xfrm>
            <a:off x="1169457" y="1054101"/>
            <a:ext cx="4477385" cy="430887"/>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0" y="1737995"/>
            <a:ext cx="962406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635756" y="7027545"/>
            <a:ext cx="342188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276999"/>
          </a:xfrm>
          <a:prstGeom prst="rect">
            <a:avLst/>
          </a:prstGeom>
        </p:spPr>
        <p:txBody>
          <a:bodyPr wrap="square" lIns="0" tIns="0" rIns="0" bIns="0">
            <a:spAutoFit/>
          </a:bodyPr>
          <a:lstStyle>
            <a:lvl1pPr algn="l">
              <a:defRPr>
                <a:solidFill>
                  <a:schemeClr val="tx1">
                    <a:tint val="75000"/>
                  </a:schemeClr>
                </a:solidFill>
              </a:defRPr>
            </a:lvl1pPr>
          </a:lstStyle>
          <a:p>
            <a:fld id="{D009573A-43D5-4B22-8414-EFBC8A069A5F}" type="datetime1">
              <a:rPr lang="en-US" smtClean="0"/>
              <a:t>5/15/2025</a:t>
            </a:fld>
            <a:endParaRPr lang="en-US"/>
          </a:p>
        </p:txBody>
      </p:sp>
      <p:sp>
        <p:nvSpPr>
          <p:cNvPr id="6" name="Holder 6"/>
          <p:cNvSpPr>
            <a:spLocks noGrp="1"/>
          </p:cNvSpPr>
          <p:nvPr>
            <p:ph type="sldNum" sz="quarter" idx="7"/>
          </p:nvPr>
        </p:nvSpPr>
        <p:spPr>
          <a:xfrm>
            <a:off x="7699248" y="7027545"/>
            <a:ext cx="245948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1" y="935939"/>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sz="1433"/>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7"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sz="1433"/>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4" y="1168986"/>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sz="1433"/>
          </a:p>
        </p:txBody>
      </p:sp>
    </p:spTree>
    <p:extLst>
      <p:ext uri="{BB962C8B-B14F-4D97-AF65-F5344CB8AC3E}">
        <p14:creationId xmlns:p14="http://schemas.microsoft.com/office/powerpoint/2010/main" val="293084950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363957">
        <a:defRPr>
          <a:latin typeface="+mn-lt"/>
          <a:ea typeface="+mn-ea"/>
          <a:cs typeface="+mn-cs"/>
        </a:defRPr>
      </a:lvl2pPr>
      <a:lvl3pPr marL="727913">
        <a:defRPr>
          <a:latin typeface="+mn-lt"/>
          <a:ea typeface="+mn-ea"/>
          <a:cs typeface="+mn-cs"/>
        </a:defRPr>
      </a:lvl3pPr>
      <a:lvl4pPr marL="1091870">
        <a:defRPr>
          <a:latin typeface="+mn-lt"/>
          <a:ea typeface="+mn-ea"/>
          <a:cs typeface="+mn-cs"/>
        </a:defRPr>
      </a:lvl4pPr>
      <a:lvl5pPr marL="1455827">
        <a:defRPr>
          <a:latin typeface="+mn-lt"/>
          <a:ea typeface="+mn-ea"/>
          <a:cs typeface="+mn-cs"/>
        </a:defRPr>
      </a:lvl5pPr>
      <a:lvl6pPr marL="1819784">
        <a:defRPr>
          <a:latin typeface="+mn-lt"/>
          <a:ea typeface="+mn-ea"/>
          <a:cs typeface="+mn-cs"/>
        </a:defRPr>
      </a:lvl6pPr>
      <a:lvl7pPr marL="2183740">
        <a:defRPr>
          <a:latin typeface="+mn-lt"/>
          <a:ea typeface="+mn-ea"/>
          <a:cs typeface="+mn-cs"/>
        </a:defRPr>
      </a:lvl7pPr>
      <a:lvl8pPr marL="2547697">
        <a:defRPr>
          <a:latin typeface="+mn-lt"/>
          <a:ea typeface="+mn-ea"/>
          <a:cs typeface="+mn-cs"/>
        </a:defRPr>
      </a:lvl8pPr>
      <a:lvl9pPr marL="2911654">
        <a:defRPr>
          <a:latin typeface="+mn-lt"/>
          <a:ea typeface="+mn-ea"/>
          <a:cs typeface="+mn-cs"/>
        </a:defRPr>
      </a:lvl9pPr>
    </p:bodyStyle>
    <p:otherStyle>
      <a:lvl1pPr marL="0">
        <a:defRPr>
          <a:latin typeface="+mn-lt"/>
          <a:ea typeface="+mn-ea"/>
          <a:cs typeface="+mn-cs"/>
        </a:defRPr>
      </a:lvl1pPr>
      <a:lvl2pPr marL="363957">
        <a:defRPr>
          <a:latin typeface="+mn-lt"/>
          <a:ea typeface="+mn-ea"/>
          <a:cs typeface="+mn-cs"/>
        </a:defRPr>
      </a:lvl2pPr>
      <a:lvl3pPr marL="727913">
        <a:defRPr>
          <a:latin typeface="+mn-lt"/>
          <a:ea typeface="+mn-ea"/>
          <a:cs typeface="+mn-cs"/>
        </a:defRPr>
      </a:lvl3pPr>
      <a:lvl4pPr marL="1091870">
        <a:defRPr>
          <a:latin typeface="+mn-lt"/>
          <a:ea typeface="+mn-ea"/>
          <a:cs typeface="+mn-cs"/>
        </a:defRPr>
      </a:lvl4pPr>
      <a:lvl5pPr marL="1455827">
        <a:defRPr>
          <a:latin typeface="+mn-lt"/>
          <a:ea typeface="+mn-ea"/>
          <a:cs typeface="+mn-cs"/>
        </a:defRPr>
      </a:lvl5pPr>
      <a:lvl6pPr marL="1819784">
        <a:defRPr>
          <a:latin typeface="+mn-lt"/>
          <a:ea typeface="+mn-ea"/>
          <a:cs typeface="+mn-cs"/>
        </a:defRPr>
      </a:lvl6pPr>
      <a:lvl7pPr marL="2183740">
        <a:defRPr>
          <a:latin typeface="+mn-lt"/>
          <a:ea typeface="+mn-ea"/>
          <a:cs typeface="+mn-cs"/>
        </a:defRPr>
      </a:lvl7pPr>
      <a:lvl8pPr marL="2547697">
        <a:defRPr>
          <a:latin typeface="+mn-lt"/>
          <a:ea typeface="+mn-ea"/>
          <a:cs typeface="+mn-cs"/>
        </a:defRPr>
      </a:lvl8pPr>
      <a:lvl9pPr marL="2911654">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26414"/>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pic>
        <p:nvPicPr>
          <p:cNvPr id="17" name="bg object 17"/>
          <p:cNvPicPr/>
          <p:nvPr/>
        </p:nvPicPr>
        <p:blipFill>
          <a:blip r:embed="rId3" cstate="print"/>
          <a:stretch>
            <a:fillRect/>
          </a:stretch>
        </p:blipFill>
        <p:spPr>
          <a:xfrm>
            <a:off x="750707" y="855350"/>
            <a:ext cx="140559" cy="140559"/>
          </a:xfrm>
          <a:prstGeom prst="rect">
            <a:avLst/>
          </a:prstGeom>
        </p:spPr>
      </p:pic>
      <p:sp>
        <p:nvSpPr>
          <p:cNvPr id="18" name="bg object 18"/>
          <p:cNvSpPr/>
          <p:nvPr/>
        </p:nvSpPr>
        <p:spPr>
          <a:xfrm>
            <a:off x="820987" y="999089"/>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19" name="bg object 19"/>
          <p:cNvSpPr/>
          <p:nvPr/>
        </p:nvSpPr>
        <p:spPr>
          <a:xfrm>
            <a:off x="0" y="710916"/>
            <a:ext cx="9302115"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a:p>
        </p:txBody>
      </p:sp>
      <p:pic>
        <p:nvPicPr>
          <p:cNvPr id="21" name="bg object 21"/>
          <p:cNvPicPr/>
          <p:nvPr/>
        </p:nvPicPr>
        <p:blipFill>
          <a:blip r:embed="rId4" cstate="print"/>
          <a:stretch>
            <a:fillRect/>
          </a:stretch>
        </p:blipFill>
        <p:spPr>
          <a:xfrm>
            <a:off x="9490581" y="627912"/>
            <a:ext cx="133703" cy="166009"/>
          </a:xfrm>
          <a:prstGeom prst="rect">
            <a:avLst/>
          </a:prstGeom>
        </p:spPr>
      </p:pic>
      <p:pic>
        <p:nvPicPr>
          <p:cNvPr id="22" name="bg object 22"/>
          <p:cNvPicPr/>
          <p:nvPr/>
        </p:nvPicPr>
        <p:blipFill>
          <a:blip r:embed="rId5" cstate="print"/>
          <a:stretch>
            <a:fillRect/>
          </a:stretch>
        </p:blipFill>
        <p:spPr>
          <a:xfrm>
            <a:off x="9720562" y="630665"/>
            <a:ext cx="180336" cy="160501"/>
          </a:xfrm>
          <a:prstGeom prst="rect">
            <a:avLst/>
          </a:prstGeom>
        </p:spPr>
      </p:pic>
      <p:pic>
        <p:nvPicPr>
          <p:cNvPr id="23" name="bg object 23"/>
          <p:cNvPicPr/>
          <p:nvPr/>
        </p:nvPicPr>
        <p:blipFill>
          <a:blip r:embed="rId6" cstate="print"/>
          <a:stretch>
            <a:fillRect/>
          </a:stretch>
        </p:blipFill>
        <p:spPr>
          <a:xfrm>
            <a:off x="10009551" y="630665"/>
            <a:ext cx="147497" cy="160501"/>
          </a:xfrm>
          <a:prstGeom prst="rect">
            <a:avLst/>
          </a:prstGeom>
        </p:spPr>
      </p:pic>
      <p:sp>
        <p:nvSpPr>
          <p:cNvPr id="24" name="bg object 24"/>
          <p:cNvSpPr/>
          <p:nvPr/>
        </p:nvSpPr>
        <p:spPr>
          <a:xfrm>
            <a:off x="278271" y="1077360"/>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a:p>
        </p:txBody>
      </p:sp>
      <p:sp>
        <p:nvSpPr>
          <p:cNvPr id="25" name="bg object 25"/>
          <p:cNvSpPr/>
          <p:nvPr/>
        </p:nvSpPr>
        <p:spPr>
          <a:xfrm>
            <a:off x="199164" y="1159460"/>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
        <p:nvSpPr>
          <p:cNvPr id="2" name="Holder 2"/>
          <p:cNvSpPr>
            <a:spLocks noGrp="1"/>
          </p:cNvSpPr>
          <p:nvPr>
            <p:ph type="title"/>
          </p:nvPr>
        </p:nvSpPr>
        <p:spPr>
          <a:xfrm>
            <a:off x="1169456" y="1054100"/>
            <a:ext cx="4477385" cy="452119"/>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0" y="1737995"/>
            <a:ext cx="9624060" cy="4987290"/>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3635756" y="7027545"/>
            <a:ext cx="3421888" cy="37782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377825"/>
          </a:xfrm>
          <a:prstGeom prst="rect">
            <a:avLst/>
          </a:prstGeom>
        </p:spPr>
        <p:txBody>
          <a:bodyPr wrap="square" lIns="0" tIns="0" rIns="0" bIns="0">
            <a:spAutoFit/>
          </a:bodyPr>
          <a:lstStyle>
            <a:lvl1pPr algn="l">
              <a:defRPr>
                <a:solidFill>
                  <a:schemeClr val="tx1">
                    <a:tint val="75000"/>
                  </a:schemeClr>
                </a:solidFill>
              </a:defRPr>
            </a:lvl1pPr>
          </a:lstStyle>
          <a:p>
            <a:fld id="{BEA93994-333F-4AC5-AC00-539D35B9C9CF}" type="datetime1">
              <a:rPr lang="en-US" smtClean="0"/>
              <a:t>5/15/2025</a:t>
            </a:fld>
            <a:endParaRPr lang="en-US"/>
          </a:p>
        </p:txBody>
      </p:sp>
      <p:sp>
        <p:nvSpPr>
          <p:cNvPr id="6" name="Holder 6"/>
          <p:cNvSpPr>
            <a:spLocks noGrp="1"/>
          </p:cNvSpPr>
          <p:nvPr>
            <p:ph type="sldNum" sz="quarter" idx="7"/>
          </p:nvPr>
        </p:nvSpPr>
        <p:spPr>
          <a:xfrm>
            <a:off x="7699248" y="7027545"/>
            <a:ext cx="2459482" cy="37782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0" y="935938"/>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7"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4" y="1168985"/>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Tree>
  </p:cSld>
  <p:clrMap bg1="lt1" tx1="dk1" bg2="lt2" tx2="dk2" accent1="accent1" accent2="accent2" accent3="accent3" accent4="accent4" accent5="accent5" accent6="accent6" hlink="hlink" folHlink="folHlink"/>
  <p:sldLayoutIdLst>
    <p:sldLayoutId id="2147483691"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26414"/>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pic>
        <p:nvPicPr>
          <p:cNvPr id="17" name="bg object 17"/>
          <p:cNvPicPr/>
          <p:nvPr/>
        </p:nvPicPr>
        <p:blipFill>
          <a:blip r:embed="rId3" cstate="print"/>
          <a:stretch>
            <a:fillRect/>
          </a:stretch>
        </p:blipFill>
        <p:spPr>
          <a:xfrm>
            <a:off x="750707" y="855350"/>
            <a:ext cx="140559" cy="140559"/>
          </a:xfrm>
          <a:prstGeom prst="rect">
            <a:avLst/>
          </a:prstGeom>
        </p:spPr>
      </p:pic>
      <p:sp>
        <p:nvSpPr>
          <p:cNvPr id="18" name="bg object 18"/>
          <p:cNvSpPr/>
          <p:nvPr/>
        </p:nvSpPr>
        <p:spPr>
          <a:xfrm>
            <a:off x="820987" y="999089"/>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19" name="bg object 19"/>
          <p:cNvSpPr/>
          <p:nvPr/>
        </p:nvSpPr>
        <p:spPr>
          <a:xfrm>
            <a:off x="0" y="710916"/>
            <a:ext cx="9302115"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a:p>
        </p:txBody>
      </p:sp>
      <p:pic>
        <p:nvPicPr>
          <p:cNvPr id="21" name="bg object 21"/>
          <p:cNvPicPr/>
          <p:nvPr/>
        </p:nvPicPr>
        <p:blipFill>
          <a:blip r:embed="rId4" cstate="print"/>
          <a:stretch>
            <a:fillRect/>
          </a:stretch>
        </p:blipFill>
        <p:spPr>
          <a:xfrm>
            <a:off x="9490581" y="627912"/>
            <a:ext cx="133703" cy="166009"/>
          </a:xfrm>
          <a:prstGeom prst="rect">
            <a:avLst/>
          </a:prstGeom>
        </p:spPr>
      </p:pic>
      <p:pic>
        <p:nvPicPr>
          <p:cNvPr id="22" name="bg object 22"/>
          <p:cNvPicPr/>
          <p:nvPr/>
        </p:nvPicPr>
        <p:blipFill>
          <a:blip r:embed="rId5" cstate="print"/>
          <a:stretch>
            <a:fillRect/>
          </a:stretch>
        </p:blipFill>
        <p:spPr>
          <a:xfrm>
            <a:off x="9720562" y="630665"/>
            <a:ext cx="180336" cy="160501"/>
          </a:xfrm>
          <a:prstGeom prst="rect">
            <a:avLst/>
          </a:prstGeom>
        </p:spPr>
      </p:pic>
      <p:pic>
        <p:nvPicPr>
          <p:cNvPr id="23" name="bg object 23"/>
          <p:cNvPicPr/>
          <p:nvPr/>
        </p:nvPicPr>
        <p:blipFill>
          <a:blip r:embed="rId6" cstate="print"/>
          <a:stretch>
            <a:fillRect/>
          </a:stretch>
        </p:blipFill>
        <p:spPr>
          <a:xfrm>
            <a:off x="10009551" y="630665"/>
            <a:ext cx="147497" cy="160501"/>
          </a:xfrm>
          <a:prstGeom prst="rect">
            <a:avLst/>
          </a:prstGeom>
        </p:spPr>
      </p:pic>
      <p:sp>
        <p:nvSpPr>
          <p:cNvPr id="24" name="bg object 24"/>
          <p:cNvSpPr/>
          <p:nvPr/>
        </p:nvSpPr>
        <p:spPr>
          <a:xfrm>
            <a:off x="278271" y="1077360"/>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a:p>
        </p:txBody>
      </p:sp>
      <p:sp>
        <p:nvSpPr>
          <p:cNvPr id="25" name="bg object 25"/>
          <p:cNvSpPr/>
          <p:nvPr/>
        </p:nvSpPr>
        <p:spPr>
          <a:xfrm>
            <a:off x="199164" y="1159460"/>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
        <p:nvSpPr>
          <p:cNvPr id="2" name="Holder 2"/>
          <p:cNvSpPr>
            <a:spLocks noGrp="1"/>
          </p:cNvSpPr>
          <p:nvPr>
            <p:ph type="title"/>
          </p:nvPr>
        </p:nvSpPr>
        <p:spPr>
          <a:xfrm>
            <a:off x="1169456" y="1054100"/>
            <a:ext cx="4477385" cy="452119"/>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0" y="1737995"/>
            <a:ext cx="9624060" cy="498729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635756" y="7027545"/>
            <a:ext cx="3421888" cy="37782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377825"/>
          </a:xfrm>
          <a:prstGeom prst="rect">
            <a:avLst/>
          </a:prstGeom>
        </p:spPr>
        <p:txBody>
          <a:bodyPr wrap="square" lIns="0" tIns="0" rIns="0" bIns="0">
            <a:spAutoFit/>
          </a:bodyPr>
          <a:lstStyle>
            <a:lvl1pPr algn="l">
              <a:defRPr>
                <a:solidFill>
                  <a:schemeClr val="tx1">
                    <a:tint val="75000"/>
                  </a:schemeClr>
                </a:solidFill>
              </a:defRPr>
            </a:lvl1pPr>
          </a:lstStyle>
          <a:p>
            <a:fld id="{B52A277B-69D4-47C9-8D13-53D5F3251622}" type="datetime1">
              <a:rPr lang="en-US" smtClean="0"/>
              <a:t>5/15/2025</a:t>
            </a:fld>
            <a:endParaRPr lang="en-US"/>
          </a:p>
        </p:txBody>
      </p:sp>
      <p:sp>
        <p:nvSpPr>
          <p:cNvPr id="6" name="Holder 6"/>
          <p:cNvSpPr>
            <a:spLocks noGrp="1"/>
          </p:cNvSpPr>
          <p:nvPr>
            <p:ph type="sldNum" sz="quarter" idx="7"/>
          </p:nvPr>
        </p:nvSpPr>
        <p:spPr>
          <a:xfrm>
            <a:off x="7699248" y="7027545"/>
            <a:ext cx="2459482" cy="37782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0" y="935938"/>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7"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4" y="1168985"/>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Tree>
  </p:cSld>
  <p:clrMap bg1="lt1" tx1="dk1" bg2="lt2" tx2="dk2" accent1="accent1" accent2="accent2" accent3="accent3" accent4="accent4" accent5="accent5" accent6="accent6" hlink="hlink" folHlink="folHlink"/>
  <p:sldLayoutIdLst>
    <p:sldLayoutId id="2147483689"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 y="926413"/>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sz="1345"/>
          </a:p>
        </p:txBody>
      </p:sp>
      <p:pic>
        <p:nvPicPr>
          <p:cNvPr id="17" name="bg object 17"/>
          <p:cNvPicPr/>
          <p:nvPr/>
        </p:nvPicPr>
        <p:blipFill>
          <a:blip r:embed="rId3" cstate="print"/>
          <a:stretch>
            <a:fillRect/>
          </a:stretch>
        </p:blipFill>
        <p:spPr>
          <a:xfrm>
            <a:off x="750709" y="855351"/>
            <a:ext cx="140559" cy="140559"/>
          </a:xfrm>
          <a:prstGeom prst="rect">
            <a:avLst/>
          </a:prstGeom>
        </p:spPr>
      </p:pic>
      <p:sp>
        <p:nvSpPr>
          <p:cNvPr id="18" name="bg object 18"/>
          <p:cNvSpPr/>
          <p:nvPr/>
        </p:nvSpPr>
        <p:spPr>
          <a:xfrm>
            <a:off x="820988" y="999090"/>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sz="1345"/>
          </a:p>
        </p:txBody>
      </p:sp>
      <p:sp>
        <p:nvSpPr>
          <p:cNvPr id="19" name="bg object 19"/>
          <p:cNvSpPr/>
          <p:nvPr/>
        </p:nvSpPr>
        <p:spPr>
          <a:xfrm>
            <a:off x="1" y="710916"/>
            <a:ext cx="9302116"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sz="1345"/>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sz="1345"/>
          </a:p>
        </p:txBody>
      </p:sp>
      <p:pic>
        <p:nvPicPr>
          <p:cNvPr id="21" name="bg object 21"/>
          <p:cNvPicPr/>
          <p:nvPr/>
        </p:nvPicPr>
        <p:blipFill>
          <a:blip r:embed="rId4" cstate="print"/>
          <a:stretch>
            <a:fillRect/>
          </a:stretch>
        </p:blipFill>
        <p:spPr>
          <a:xfrm>
            <a:off x="9490582" y="627912"/>
            <a:ext cx="133703" cy="166010"/>
          </a:xfrm>
          <a:prstGeom prst="rect">
            <a:avLst/>
          </a:prstGeom>
        </p:spPr>
      </p:pic>
      <p:pic>
        <p:nvPicPr>
          <p:cNvPr id="22" name="bg object 22"/>
          <p:cNvPicPr/>
          <p:nvPr/>
        </p:nvPicPr>
        <p:blipFill>
          <a:blip r:embed="rId5" cstate="print"/>
          <a:stretch>
            <a:fillRect/>
          </a:stretch>
        </p:blipFill>
        <p:spPr>
          <a:xfrm>
            <a:off x="9720563" y="630669"/>
            <a:ext cx="180337" cy="160501"/>
          </a:xfrm>
          <a:prstGeom prst="rect">
            <a:avLst/>
          </a:prstGeom>
        </p:spPr>
      </p:pic>
      <p:pic>
        <p:nvPicPr>
          <p:cNvPr id="23" name="bg object 23"/>
          <p:cNvPicPr/>
          <p:nvPr/>
        </p:nvPicPr>
        <p:blipFill>
          <a:blip r:embed="rId6" cstate="print"/>
          <a:stretch>
            <a:fillRect/>
          </a:stretch>
        </p:blipFill>
        <p:spPr>
          <a:xfrm>
            <a:off x="10009552" y="630669"/>
            <a:ext cx="147497" cy="160501"/>
          </a:xfrm>
          <a:prstGeom prst="rect">
            <a:avLst/>
          </a:prstGeom>
        </p:spPr>
      </p:pic>
      <p:sp>
        <p:nvSpPr>
          <p:cNvPr id="24" name="bg object 24"/>
          <p:cNvSpPr/>
          <p:nvPr/>
        </p:nvSpPr>
        <p:spPr>
          <a:xfrm>
            <a:off x="278272" y="1077361"/>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sz="1345"/>
          </a:p>
        </p:txBody>
      </p:sp>
      <p:sp>
        <p:nvSpPr>
          <p:cNvPr id="25" name="bg object 25"/>
          <p:cNvSpPr/>
          <p:nvPr/>
        </p:nvSpPr>
        <p:spPr>
          <a:xfrm>
            <a:off x="199165" y="1159462"/>
            <a:ext cx="382906"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sz="1345"/>
          </a:p>
        </p:txBody>
      </p:sp>
      <p:sp>
        <p:nvSpPr>
          <p:cNvPr id="2" name="Holder 2"/>
          <p:cNvSpPr>
            <a:spLocks noGrp="1"/>
          </p:cNvSpPr>
          <p:nvPr>
            <p:ph type="title"/>
          </p:nvPr>
        </p:nvSpPr>
        <p:spPr>
          <a:xfrm>
            <a:off x="1169458" y="1054103"/>
            <a:ext cx="4477385" cy="432705"/>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1" y="1737996"/>
            <a:ext cx="9624060" cy="278168"/>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635757" y="7027547"/>
            <a:ext cx="3421888" cy="31667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1" y="7027547"/>
            <a:ext cx="2459482" cy="316674"/>
          </a:xfrm>
          <a:prstGeom prst="rect">
            <a:avLst/>
          </a:prstGeom>
        </p:spPr>
        <p:txBody>
          <a:bodyPr wrap="square" lIns="0" tIns="0" rIns="0" bIns="0">
            <a:spAutoFit/>
          </a:bodyPr>
          <a:lstStyle>
            <a:lvl1pPr algn="l">
              <a:defRPr>
                <a:solidFill>
                  <a:schemeClr val="tx1">
                    <a:tint val="75000"/>
                  </a:schemeClr>
                </a:solidFill>
              </a:defRPr>
            </a:lvl1pPr>
          </a:lstStyle>
          <a:p>
            <a:fld id="{D1315A02-EFA4-40E1-B047-5FAA9F3F7120}" type="datetime1">
              <a:rPr lang="en-US" smtClean="0"/>
              <a:t>5/15/2025</a:t>
            </a:fld>
            <a:endParaRPr lang="en-US"/>
          </a:p>
        </p:txBody>
      </p:sp>
      <p:sp>
        <p:nvSpPr>
          <p:cNvPr id="6" name="Holder 6"/>
          <p:cNvSpPr>
            <a:spLocks noGrp="1"/>
          </p:cNvSpPr>
          <p:nvPr>
            <p:ph type="sldNum" sz="quarter" idx="7"/>
          </p:nvPr>
        </p:nvSpPr>
        <p:spPr>
          <a:xfrm>
            <a:off x="7699248" y="7027547"/>
            <a:ext cx="2459482" cy="316674"/>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2" y="935939"/>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sz="1345"/>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8"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sz="1345"/>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5" y="1168987"/>
            <a:ext cx="382906"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sz="1345"/>
          </a:p>
        </p:txBody>
      </p:sp>
    </p:spTree>
    <p:extLst>
      <p:ext uri="{BB962C8B-B14F-4D97-AF65-F5344CB8AC3E}">
        <p14:creationId xmlns:p14="http://schemas.microsoft.com/office/powerpoint/2010/main" val="295914061"/>
      </p:ext>
    </p:extLst>
  </p:cSld>
  <p:clrMap bg1="lt1" tx1="dk1" bg2="lt2" tx2="dk2" accent1="accent1" accent2="accent2" accent3="accent3" accent4="accent4" accent5="accent5" accent6="accent6" hlink="hlink" folHlink="folHlink"/>
  <p:sldLayoutIdLst>
    <p:sldLayoutId id="2147483692"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341466">
        <a:defRPr>
          <a:latin typeface="+mn-lt"/>
          <a:ea typeface="+mn-ea"/>
          <a:cs typeface="+mn-cs"/>
        </a:defRPr>
      </a:lvl2pPr>
      <a:lvl3pPr marL="682932">
        <a:defRPr>
          <a:latin typeface="+mn-lt"/>
          <a:ea typeface="+mn-ea"/>
          <a:cs typeface="+mn-cs"/>
        </a:defRPr>
      </a:lvl3pPr>
      <a:lvl4pPr marL="1024399">
        <a:defRPr>
          <a:latin typeface="+mn-lt"/>
          <a:ea typeface="+mn-ea"/>
          <a:cs typeface="+mn-cs"/>
        </a:defRPr>
      </a:lvl4pPr>
      <a:lvl5pPr marL="1365865">
        <a:defRPr>
          <a:latin typeface="+mn-lt"/>
          <a:ea typeface="+mn-ea"/>
          <a:cs typeface="+mn-cs"/>
        </a:defRPr>
      </a:lvl5pPr>
      <a:lvl6pPr marL="1707332">
        <a:defRPr>
          <a:latin typeface="+mn-lt"/>
          <a:ea typeface="+mn-ea"/>
          <a:cs typeface="+mn-cs"/>
        </a:defRPr>
      </a:lvl6pPr>
      <a:lvl7pPr marL="2048797">
        <a:defRPr>
          <a:latin typeface="+mn-lt"/>
          <a:ea typeface="+mn-ea"/>
          <a:cs typeface="+mn-cs"/>
        </a:defRPr>
      </a:lvl7pPr>
      <a:lvl8pPr marL="2390263">
        <a:defRPr>
          <a:latin typeface="+mn-lt"/>
          <a:ea typeface="+mn-ea"/>
          <a:cs typeface="+mn-cs"/>
        </a:defRPr>
      </a:lvl8pPr>
      <a:lvl9pPr marL="2731731">
        <a:defRPr>
          <a:latin typeface="+mn-lt"/>
          <a:ea typeface="+mn-ea"/>
          <a:cs typeface="+mn-cs"/>
        </a:defRPr>
      </a:lvl9pPr>
    </p:bodyStyle>
    <p:otherStyle>
      <a:lvl1pPr marL="0">
        <a:defRPr>
          <a:latin typeface="+mn-lt"/>
          <a:ea typeface="+mn-ea"/>
          <a:cs typeface="+mn-cs"/>
        </a:defRPr>
      </a:lvl1pPr>
      <a:lvl2pPr marL="341466">
        <a:defRPr>
          <a:latin typeface="+mn-lt"/>
          <a:ea typeface="+mn-ea"/>
          <a:cs typeface="+mn-cs"/>
        </a:defRPr>
      </a:lvl2pPr>
      <a:lvl3pPr marL="682932">
        <a:defRPr>
          <a:latin typeface="+mn-lt"/>
          <a:ea typeface="+mn-ea"/>
          <a:cs typeface="+mn-cs"/>
        </a:defRPr>
      </a:lvl3pPr>
      <a:lvl4pPr marL="1024399">
        <a:defRPr>
          <a:latin typeface="+mn-lt"/>
          <a:ea typeface="+mn-ea"/>
          <a:cs typeface="+mn-cs"/>
        </a:defRPr>
      </a:lvl4pPr>
      <a:lvl5pPr marL="1365865">
        <a:defRPr>
          <a:latin typeface="+mn-lt"/>
          <a:ea typeface="+mn-ea"/>
          <a:cs typeface="+mn-cs"/>
        </a:defRPr>
      </a:lvl5pPr>
      <a:lvl6pPr marL="1707332">
        <a:defRPr>
          <a:latin typeface="+mn-lt"/>
          <a:ea typeface="+mn-ea"/>
          <a:cs typeface="+mn-cs"/>
        </a:defRPr>
      </a:lvl6pPr>
      <a:lvl7pPr marL="2048797">
        <a:defRPr>
          <a:latin typeface="+mn-lt"/>
          <a:ea typeface="+mn-ea"/>
          <a:cs typeface="+mn-cs"/>
        </a:defRPr>
      </a:lvl7pPr>
      <a:lvl8pPr marL="2390263">
        <a:defRPr>
          <a:latin typeface="+mn-lt"/>
          <a:ea typeface="+mn-ea"/>
          <a:cs typeface="+mn-cs"/>
        </a:defRPr>
      </a:lvl8pPr>
      <a:lvl9pPr marL="2731731">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26414"/>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sz="1801"/>
          </a:p>
        </p:txBody>
      </p:sp>
      <p:pic>
        <p:nvPicPr>
          <p:cNvPr id="17" name="bg object 17"/>
          <p:cNvPicPr/>
          <p:nvPr/>
        </p:nvPicPr>
        <p:blipFill>
          <a:blip r:embed="rId3" cstate="print"/>
          <a:stretch>
            <a:fillRect/>
          </a:stretch>
        </p:blipFill>
        <p:spPr>
          <a:xfrm>
            <a:off x="750708" y="855351"/>
            <a:ext cx="140559" cy="140559"/>
          </a:xfrm>
          <a:prstGeom prst="rect">
            <a:avLst/>
          </a:prstGeom>
        </p:spPr>
      </p:pic>
      <p:sp>
        <p:nvSpPr>
          <p:cNvPr id="18" name="bg object 18"/>
          <p:cNvSpPr/>
          <p:nvPr/>
        </p:nvSpPr>
        <p:spPr>
          <a:xfrm>
            <a:off x="820987" y="999090"/>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sz="1801"/>
          </a:p>
        </p:txBody>
      </p:sp>
      <p:sp>
        <p:nvSpPr>
          <p:cNvPr id="19" name="bg object 19"/>
          <p:cNvSpPr/>
          <p:nvPr/>
        </p:nvSpPr>
        <p:spPr>
          <a:xfrm>
            <a:off x="1" y="710916"/>
            <a:ext cx="9302115"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sz="1801"/>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sz="1801"/>
          </a:p>
        </p:txBody>
      </p:sp>
      <p:pic>
        <p:nvPicPr>
          <p:cNvPr id="21" name="bg object 21"/>
          <p:cNvPicPr/>
          <p:nvPr/>
        </p:nvPicPr>
        <p:blipFill>
          <a:blip r:embed="rId4" cstate="print"/>
          <a:stretch>
            <a:fillRect/>
          </a:stretch>
        </p:blipFill>
        <p:spPr>
          <a:xfrm>
            <a:off x="9490582" y="627913"/>
            <a:ext cx="133703" cy="166009"/>
          </a:xfrm>
          <a:prstGeom prst="rect">
            <a:avLst/>
          </a:prstGeom>
        </p:spPr>
      </p:pic>
      <p:pic>
        <p:nvPicPr>
          <p:cNvPr id="22" name="bg object 22"/>
          <p:cNvPicPr/>
          <p:nvPr/>
        </p:nvPicPr>
        <p:blipFill>
          <a:blip r:embed="rId5" cstate="print"/>
          <a:stretch>
            <a:fillRect/>
          </a:stretch>
        </p:blipFill>
        <p:spPr>
          <a:xfrm>
            <a:off x="9720563" y="630667"/>
            <a:ext cx="180336" cy="160501"/>
          </a:xfrm>
          <a:prstGeom prst="rect">
            <a:avLst/>
          </a:prstGeom>
        </p:spPr>
      </p:pic>
      <p:pic>
        <p:nvPicPr>
          <p:cNvPr id="23" name="bg object 23"/>
          <p:cNvPicPr/>
          <p:nvPr/>
        </p:nvPicPr>
        <p:blipFill>
          <a:blip r:embed="rId6" cstate="print"/>
          <a:stretch>
            <a:fillRect/>
          </a:stretch>
        </p:blipFill>
        <p:spPr>
          <a:xfrm>
            <a:off x="10009551" y="630667"/>
            <a:ext cx="147497" cy="160501"/>
          </a:xfrm>
          <a:prstGeom prst="rect">
            <a:avLst/>
          </a:prstGeom>
        </p:spPr>
      </p:pic>
      <p:sp>
        <p:nvSpPr>
          <p:cNvPr id="24" name="bg object 24"/>
          <p:cNvSpPr/>
          <p:nvPr/>
        </p:nvSpPr>
        <p:spPr>
          <a:xfrm>
            <a:off x="278271" y="1077361"/>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sz="1801"/>
          </a:p>
        </p:txBody>
      </p:sp>
      <p:sp>
        <p:nvSpPr>
          <p:cNvPr id="25" name="bg object 25"/>
          <p:cNvSpPr/>
          <p:nvPr/>
        </p:nvSpPr>
        <p:spPr>
          <a:xfrm>
            <a:off x="199164" y="1159460"/>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sz="1801"/>
          </a:p>
        </p:txBody>
      </p:sp>
      <p:sp>
        <p:nvSpPr>
          <p:cNvPr id="2" name="Holder 2"/>
          <p:cNvSpPr>
            <a:spLocks noGrp="1"/>
          </p:cNvSpPr>
          <p:nvPr>
            <p:ph type="title"/>
          </p:nvPr>
        </p:nvSpPr>
        <p:spPr>
          <a:xfrm>
            <a:off x="1169457" y="1054101"/>
            <a:ext cx="4477385" cy="430887"/>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0" y="1737995"/>
            <a:ext cx="962406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635756" y="7027545"/>
            <a:ext cx="3421888"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276999"/>
          </a:xfrm>
          <a:prstGeom prst="rect">
            <a:avLst/>
          </a:prstGeom>
        </p:spPr>
        <p:txBody>
          <a:bodyPr wrap="square" lIns="0" tIns="0" rIns="0" bIns="0">
            <a:spAutoFit/>
          </a:bodyPr>
          <a:lstStyle>
            <a:lvl1pPr algn="l">
              <a:defRPr>
                <a:solidFill>
                  <a:schemeClr val="tx1">
                    <a:tint val="75000"/>
                  </a:schemeClr>
                </a:solidFill>
              </a:defRPr>
            </a:lvl1pPr>
          </a:lstStyle>
          <a:p>
            <a:fld id="{06328247-2646-40B8-BB7D-1E4EF6BAC0FD}" type="datetime1">
              <a:rPr lang="en-US" smtClean="0"/>
              <a:t>5/15/2025</a:t>
            </a:fld>
            <a:endParaRPr lang="en-US"/>
          </a:p>
        </p:txBody>
      </p:sp>
      <p:sp>
        <p:nvSpPr>
          <p:cNvPr id="6" name="Holder 6"/>
          <p:cNvSpPr>
            <a:spLocks noGrp="1"/>
          </p:cNvSpPr>
          <p:nvPr>
            <p:ph type="sldNum" sz="quarter" idx="7"/>
          </p:nvPr>
        </p:nvSpPr>
        <p:spPr>
          <a:xfrm>
            <a:off x="7699248" y="7027545"/>
            <a:ext cx="2459482"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1" y="935939"/>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sz="1801"/>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7"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sz="1801"/>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4" y="1168986"/>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sz="1801"/>
          </a:p>
        </p:txBody>
      </p:sp>
    </p:spTree>
    <p:extLst>
      <p:ext uri="{BB962C8B-B14F-4D97-AF65-F5344CB8AC3E}">
        <p14:creationId xmlns:p14="http://schemas.microsoft.com/office/powerpoint/2010/main" val="2946213098"/>
      </p:ext>
    </p:extLst>
  </p:cSld>
  <p:clrMap bg1="lt1" tx1="dk1" bg2="lt2" tx2="dk2" accent1="accent1" accent2="accent2" accent3="accent3" accent4="accent4" accent5="accent5" accent6="accent6" hlink="hlink" folHlink="folHlink"/>
  <p:sldLayoutIdLst>
    <p:sldLayoutId id="2147483694"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457239">
        <a:defRPr>
          <a:latin typeface="+mn-lt"/>
          <a:ea typeface="+mn-ea"/>
          <a:cs typeface="+mn-cs"/>
        </a:defRPr>
      </a:lvl2pPr>
      <a:lvl3pPr marL="914477">
        <a:defRPr>
          <a:latin typeface="+mn-lt"/>
          <a:ea typeface="+mn-ea"/>
          <a:cs typeface="+mn-cs"/>
        </a:defRPr>
      </a:lvl3pPr>
      <a:lvl4pPr marL="1371716">
        <a:defRPr>
          <a:latin typeface="+mn-lt"/>
          <a:ea typeface="+mn-ea"/>
          <a:cs typeface="+mn-cs"/>
        </a:defRPr>
      </a:lvl4pPr>
      <a:lvl5pPr marL="1828955">
        <a:defRPr>
          <a:latin typeface="+mn-lt"/>
          <a:ea typeface="+mn-ea"/>
          <a:cs typeface="+mn-cs"/>
        </a:defRPr>
      </a:lvl5pPr>
      <a:lvl6pPr marL="2286193">
        <a:defRPr>
          <a:latin typeface="+mn-lt"/>
          <a:ea typeface="+mn-ea"/>
          <a:cs typeface="+mn-cs"/>
        </a:defRPr>
      </a:lvl6pPr>
      <a:lvl7pPr marL="2743431">
        <a:defRPr>
          <a:latin typeface="+mn-lt"/>
          <a:ea typeface="+mn-ea"/>
          <a:cs typeface="+mn-cs"/>
        </a:defRPr>
      </a:lvl7pPr>
      <a:lvl8pPr marL="3200670">
        <a:defRPr>
          <a:latin typeface="+mn-lt"/>
          <a:ea typeface="+mn-ea"/>
          <a:cs typeface="+mn-cs"/>
        </a:defRPr>
      </a:lvl8pPr>
      <a:lvl9pPr marL="3657909">
        <a:defRPr>
          <a:latin typeface="+mn-lt"/>
          <a:ea typeface="+mn-ea"/>
          <a:cs typeface="+mn-cs"/>
        </a:defRPr>
      </a:lvl9pPr>
    </p:bodyStyle>
    <p:otherStyle>
      <a:lvl1pPr marL="0">
        <a:defRPr>
          <a:latin typeface="+mn-lt"/>
          <a:ea typeface="+mn-ea"/>
          <a:cs typeface="+mn-cs"/>
        </a:defRPr>
      </a:lvl1pPr>
      <a:lvl2pPr marL="457239">
        <a:defRPr>
          <a:latin typeface="+mn-lt"/>
          <a:ea typeface="+mn-ea"/>
          <a:cs typeface="+mn-cs"/>
        </a:defRPr>
      </a:lvl2pPr>
      <a:lvl3pPr marL="914477">
        <a:defRPr>
          <a:latin typeface="+mn-lt"/>
          <a:ea typeface="+mn-ea"/>
          <a:cs typeface="+mn-cs"/>
        </a:defRPr>
      </a:lvl3pPr>
      <a:lvl4pPr marL="1371716">
        <a:defRPr>
          <a:latin typeface="+mn-lt"/>
          <a:ea typeface="+mn-ea"/>
          <a:cs typeface="+mn-cs"/>
        </a:defRPr>
      </a:lvl4pPr>
      <a:lvl5pPr marL="1828955">
        <a:defRPr>
          <a:latin typeface="+mn-lt"/>
          <a:ea typeface="+mn-ea"/>
          <a:cs typeface="+mn-cs"/>
        </a:defRPr>
      </a:lvl5pPr>
      <a:lvl6pPr marL="2286193">
        <a:defRPr>
          <a:latin typeface="+mn-lt"/>
          <a:ea typeface="+mn-ea"/>
          <a:cs typeface="+mn-cs"/>
        </a:defRPr>
      </a:lvl6pPr>
      <a:lvl7pPr marL="2743431">
        <a:defRPr>
          <a:latin typeface="+mn-lt"/>
          <a:ea typeface="+mn-ea"/>
          <a:cs typeface="+mn-cs"/>
        </a:defRPr>
      </a:lvl7pPr>
      <a:lvl8pPr marL="3200670">
        <a:defRPr>
          <a:latin typeface="+mn-lt"/>
          <a:ea typeface="+mn-ea"/>
          <a:cs typeface="+mn-cs"/>
        </a:defRPr>
      </a:lvl8pPr>
      <a:lvl9pPr marL="3657909">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26414"/>
            <a:ext cx="859790" cy="0"/>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pic>
        <p:nvPicPr>
          <p:cNvPr id="17" name="bg object 17"/>
          <p:cNvPicPr/>
          <p:nvPr/>
        </p:nvPicPr>
        <p:blipFill>
          <a:blip r:embed="rId7" cstate="print"/>
          <a:stretch>
            <a:fillRect/>
          </a:stretch>
        </p:blipFill>
        <p:spPr>
          <a:xfrm>
            <a:off x="750707" y="855350"/>
            <a:ext cx="140559" cy="140559"/>
          </a:xfrm>
          <a:prstGeom prst="rect">
            <a:avLst/>
          </a:prstGeom>
        </p:spPr>
      </p:pic>
      <p:sp>
        <p:nvSpPr>
          <p:cNvPr id="18" name="bg object 18"/>
          <p:cNvSpPr/>
          <p:nvPr/>
        </p:nvSpPr>
        <p:spPr>
          <a:xfrm>
            <a:off x="820987" y="999089"/>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19" name="bg object 19"/>
          <p:cNvSpPr/>
          <p:nvPr/>
        </p:nvSpPr>
        <p:spPr>
          <a:xfrm>
            <a:off x="0" y="710916"/>
            <a:ext cx="9302115" cy="0"/>
          </a:xfrm>
          <a:custGeom>
            <a:avLst/>
            <a:gdLst/>
            <a:ahLst/>
            <a:cxnLst/>
            <a:rect l="l" t="t" r="r" b="b"/>
            <a:pathLst>
              <a:path w="9302115">
                <a:moveTo>
                  <a:pt x="0" y="0"/>
                </a:moveTo>
                <a:lnTo>
                  <a:pt x="9301810" y="0"/>
                </a:lnTo>
              </a:path>
            </a:pathLst>
          </a:custGeom>
          <a:ln w="15875">
            <a:solidFill>
              <a:srgbClr val="B68150"/>
            </a:solidFill>
          </a:ln>
        </p:spPr>
        <p:txBody>
          <a:bodyPr wrap="square" lIns="0" tIns="0" rIns="0" bIns="0" rtlCol="0"/>
          <a:lstStyle/>
          <a:p>
            <a:endParaRPr/>
          </a:p>
        </p:txBody>
      </p:sp>
      <p:sp>
        <p:nvSpPr>
          <p:cNvPr id="20" name="bg object 20"/>
          <p:cNvSpPr/>
          <p:nvPr/>
        </p:nvSpPr>
        <p:spPr>
          <a:xfrm>
            <a:off x="10348290" y="710916"/>
            <a:ext cx="345440" cy="0"/>
          </a:xfrm>
          <a:custGeom>
            <a:avLst/>
            <a:gdLst/>
            <a:ahLst/>
            <a:cxnLst/>
            <a:rect l="l" t="t" r="r" b="b"/>
            <a:pathLst>
              <a:path w="345440">
                <a:moveTo>
                  <a:pt x="0" y="0"/>
                </a:moveTo>
                <a:lnTo>
                  <a:pt x="345109" y="0"/>
                </a:lnTo>
              </a:path>
            </a:pathLst>
          </a:custGeom>
          <a:ln w="15875">
            <a:solidFill>
              <a:srgbClr val="B68150"/>
            </a:solidFill>
          </a:ln>
        </p:spPr>
        <p:txBody>
          <a:bodyPr wrap="square" lIns="0" tIns="0" rIns="0" bIns="0" rtlCol="0"/>
          <a:lstStyle/>
          <a:p>
            <a:endParaRPr/>
          </a:p>
        </p:txBody>
      </p:sp>
      <p:pic>
        <p:nvPicPr>
          <p:cNvPr id="21" name="bg object 21"/>
          <p:cNvPicPr/>
          <p:nvPr/>
        </p:nvPicPr>
        <p:blipFill>
          <a:blip r:embed="rId8" cstate="print"/>
          <a:stretch>
            <a:fillRect/>
          </a:stretch>
        </p:blipFill>
        <p:spPr>
          <a:xfrm>
            <a:off x="9490581" y="627912"/>
            <a:ext cx="133703" cy="166009"/>
          </a:xfrm>
          <a:prstGeom prst="rect">
            <a:avLst/>
          </a:prstGeom>
        </p:spPr>
      </p:pic>
      <p:pic>
        <p:nvPicPr>
          <p:cNvPr id="22" name="bg object 22"/>
          <p:cNvPicPr/>
          <p:nvPr/>
        </p:nvPicPr>
        <p:blipFill>
          <a:blip r:embed="rId9" cstate="print"/>
          <a:stretch>
            <a:fillRect/>
          </a:stretch>
        </p:blipFill>
        <p:spPr>
          <a:xfrm>
            <a:off x="9720562" y="630665"/>
            <a:ext cx="180336" cy="160501"/>
          </a:xfrm>
          <a:prstGeom prst="rect">
            <a:avLst/>
          </a:prstGeom>
        </p:spPr>
      </p:pic>
      <p:pic>
        <p:nvPicPr>
          <p:cNvPr id="23" name="bg object 23"/>
          <p:cNvPicPr/>
          <p:nvPr/>
        </p:nvPicPr>
        <p:blipFill>
          <a:blip r:embed="rId10" cstate="print"/>
          <a:stretch>
            <a:fillRect/>
          </a:stretch>
        </p:blipFill>
        <p:spPr>
          <a:xfrm>
            <a:off x="10009551" y="630665"/>
            <a:ext cx="147497" cy="160501"/>
          </a:xfrm>
          <a:prstGeom prst="rect">
            <a:avLst/>
          </a:prstGeom>
        </p:spPr>
      </p:pic>
      <p:sp>
        <p:nvSpPr>
          <p:cNvPr id="24" name="bg object 24"/>
          <p:cNvSpPr/>
          <p:nvPr/>
        </p:nvSpPr>
        <p:spPr>
          <a:xfrm>
            <a:off x="278271" y="1077360"/>
            <a:ext cx="375920" cy="340995"/>
          </a:xfrm>
          <a:custGeom>
            <a:avLst/>
            <a:gdLst/>
            <a:ahLst/>
            <a:cxnLst/>
            <a:rect l="l" t="t" r="r" b="b"/>
            <a:pathLst>
              <a:path w="375920" h="340994">
                <a:moveTo>
                  <a:pt x="167028" y="0"/>
                </a:moveTo>
                <a:lnTo>
                  <a:pt x="122184" y="0"/>
                </a:lnTo>
                <a:lnTo>
                  <a:pt x="79060" y="13673"/>
                </a:lnTo>
                <a:lnTo>
                  <a:pt x="41092" y="41020"/>
                </a:lnTo>
                <a:lnTo>
                  <a:pt x="13697" y="78913"/>
                </a:lnTo>
                <a:lnTo>
                  <a:pt x="0" y="121952"/>
                </a:lnTo>
                <a:lnTo>
                  <a:pt x="0" y="166708"/>
                </a:lnTo>
                <a:lnTo>
                  <a:pt x="13697" y="209747"/>
                </a:lnTo>
                <a:lnTo>
                  <a:pt x="41092" y="247641"/>
                </a:lnTo>
                <a:lnTo>
                  <a:pt x="117117" y="323514"/>
                </a:lnTo>
                <a:lnTo>
                  <a:pt x="158979" y="340823"/>
                </a:lnTo>
                <a:lnTo>
                  <a:pt x="170617" y="339689"/>
                </a:lnTo>
                <a:lnTo>
                  <a:pt x="208272" y="314495"/>
                </a:lnTo>
                <a:lnTo>
                  <a:pt x="218185" y="281735"/>
                </a:lnTo>
                <a:lnTo>
                  <a:pt x="217049" y="270120"/>
                </a:lnTo>
                <a:lnTo>
                  <a:pt x="183870" y="223015"/>
                </a:lnTo>
                <a:lnTo>
                  <a:pt x="180549" y="260207"/>
                </a:lnTo>
                <a:lnTo>
                  <a:pt x="187237" y="270272"/>
                </a:lnTo>
                <a:lnTo>
                  <a:pt x="174790" y="309011"/>
                </a:lnTo>
                <a:lnTo>
                  <a:pt x="167127" y="312172"/>
                </a:lnTo>
                <a:lnTo>
                  <a:pt x="150832" y="312172"/>
                </a:lnTo>
                <a:lnTo>
                  <a:pt x="143169" y="309011"/>
                </a:lnTo>
                <a:lnTo>
                  <a:pt x="61385" y="227388"/>
                </a:lnTo>
                <a:lnTo>
                  <a:pt x="35574" y="188547"/>
                </a:lnTo>
                <a:lnTo>
                  <a:pt x="26971" y="144325"/>
                </a:lnTo>
                <a:lnTo>
                  <a:pt x="35574" y="100106"/>
                </a:lnTo>
                <a:lnTo>
                  <a:pt x="61385" y="61273"/>
                </a:lnTo>
                <a:lnTo>
                  <a:pt x="100297" y="35513"/>
                </a:lnTo>
                <a:lnTo>
                  <a:pt x="144606" y="26927"/>
                </a:lnTo>
                <a:lnTo>
                  <a:pt x="188915" y="35513"/>
                </a:lnTo>
                <a:lnTo>
                  <a:pt x="227827" y="61273"/>
                </a:lnTo>
                <a:lnTo>
                  <a:pt x="337299" y="170529"/>
                </a:lnTo>
                <a:lnTo>
                  <a:pt x="344440" y="181271"/>
                </a:lnTo>
                <a:lnTo>
                  <a:pt x="346820" y="193503"/>
                </a:lnTo>
                <a:lnTo>
                  <a:pt x="344440" y="205734"/>
                </a:lnTo>
                <a:lnTo>
                  <a:pt x="337299" y="216476"/>
                </a:lnTo>
                <a:lnTo>
                  <a:pt x="331692" y="222073"/>
                </a:lnTo>
                <a:lnTo>
                  <a:pt x="331692" y="231134"/>
                </a:lnTo>
                <a:lnTo>
                  <a:pt x="342905" y="242326"/>
                </a:lnTo>
                <a:lnTo>
                  <a:pt x="351985" y="242326"/>
                </a:lnTo>
                <a:lnTo>
                  <a:pt x="374359" y="205516"/>
                </a:lnTo>
                <a:lnTo>
                  <a:pt x="375535" y="193497"/>
                </a:lnTo>
                <a:lnTo>
                  <a:pt x="374359" y="181477"/>
                </a:lnTo>
                <a:lnTo>
                  <a:pt x="248120" y="41020"/>
                </a:lnTo>
                <a:lnTo>
                  <a:pt x="210152" y="13673"/>
                </a:lnTo>
                <a:lnTo>
                  <a:pt x="167028" y="0"/>
                </a:lnTo>
                <a:close/>
              </a:path>
            </a:pathLst>
          </a:custGeom>
          <a:solidFill>
            <a:srgbClr val="B58150"/>
          </a:solidFill>
        </p:spPr>
        <p:txBody>
          <a:bodyPr wrap="square" lIns="0" tIns="0" rIns="0" bIns="0" rtlCol="0"/>
          <a:lstStyle/>
          <a:p>
            <a:endParaRPr/>
          </a:p>
        </p:txBody>
      </p:sp>
      <p:sp>
        <p:nvSpPr>
          <p:cNvPr id="25" name="bg object 25"/>
          <p:cNvSpPr/>
          <p:nvPr/>
        </p:nvSpPr>
        <p:spPr>
          <a:xfrm>
            <a:off x="199164" y="1159460"/>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
        <p:nvSpPr>
          <p:cNvPr id="2" name="Holder 2"/>
          <p:cNvSpPr>
            <a:spLocks noGrp="1"/>
          </p:cNvSpPr>
          <p:nvPr>
            <p:ph type="title"/>
          </p:nvPr>
        </p:nvSpPr>
        <p:spPr>
          <a:xfrm>
            <a:off x="1169456" y="1054100"/>
            <a:ext cx="4477385" cy="452119"/>
          </a:xfrm>
          <a:prstGeom prst="rect">
            <a:avLst/>
          </a:prstGeom>
        </p:spPr>
        <p:txBody>
          <a:bodyPr wrap="square" lIns="0" tIns="0" rIns="0" bIns="0">
            <a:spAutoFit/>
          </a:bodyPr>
          <a:lstStyle>
            <a:lvl1pPr>
              <a:defRPr sz="2800" b="0" i="0">
                <a:solidFill>
                  <a:srgbClr val="2E3841"/>
                </a:solidFill>
                <a:latin typeface="Montserrat Medium"/>
                <a:cs typeface="Montserrat Medium"/>
              </a:defRPr>
            </a:lvl1pPr>
          </a:lstStyle>
          <a:p>
            <a:endParaRPr/>
          </a:p>
        </p:txBody>
      </p:sp>
      <p:sp>
        <p:nvSpPr>
          <p:cNvPr id="3" name="Holder 3"/>
          <p:cNvSpPr>
            <a:spLocks noGrp="1"/>
          </p:cNvSpPr>
          <p:nvPr>
            <p:ph type="body" idx="1"/>
          </p:nvPr>
        </p:nvSpPr>
        <p:spPr>
          <a:xfrm>
            <a:off x="534670" y="1737995"/>
            <a:ext cx="9624060" cy="4987290"/>
          </a:xfrm>
          <a:prstGeom prst="rect">
            <a:avLst/>
          </a:prstGeom>
        </p:spPr>
        <p:txBody>
          <a:bodyPr wrap="square" lIns="0" tIns="0" rIns="0" bIns="0">
            <a:spAutoFit/>
          </a:bodyPr>
          <a:lstStyle>
            <a:lvl1pPr>
              <a:defRPr/>
            </a:lvl1pPr>
          </a:lstStyle>
          <a:p>
            <a:endParaRPr dirty="0"/>
          </a:p>
        </p:txBody>
      </p:sp>
      <p:sp>
        <p:nvSpPr>
          <p:cNvPr id="4" name="Holder 4"/>
          <p:cNvSpPr>
            <a:spLocks noGrp="1"/>
          </p:cNvSpPr>
          <p:nvPr>
            <p:ph type="ftr" sz="quarter" idx="5"/>
          </p:nvPr>
        </p:nvSpPr>
        <p:spPr>
          <a:xfrm>
            <a:off x="3635756" y="7027545"/>
            <a:ext cx="3421888" cy="37782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34670" y="7027545"/>
            <a:ext cx="2459482" cy="377825"/>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15/2025</a:t>
            </a:fld>
            <a:endParaRPr lang="en-US"/>
          </a:p>
        </p:txBody>
      </p:sp>
      <p:sp>
        <p:nvSpPr>
          <p:cNvPr id="6" name="Holder 6"/>
          <p:cNvSpPr>
            <a:spLocks noGrp="1"/>
          </p:cNvSpPr>
          <p:nvPr>
            <p:ph type="sldNum" sz="quarter" idx="7"/>
          </p:nvPr>
        </p:nvSpPr>
        <p:spPr>
          <a:xfrm>
            <a:off x="7699248" y="7027545"/>
            <a:ext cx="2459482" cy="37782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bg object 16">
            <a:extLst>
              <a:ext uri="{FF2B5EF4-FFF2-40B4-BE49-F238E27FC236}">
                <a16:creationId xmlns:a16="http://schemas.microsoft.com/office/drawing/2014/main" id="{C622304C-6311-9B41-6FEE-7D6B598E085E}"/>
              </a:ext>
            </a:extLst>
          </p:cNvPr>
          <p:cNvSpPr/>
          <p:nvPr userDrawn="1"/>
        </p:nvSpPr>
        <p:spPr>
          <a:xfrm>
            <a:off x="0" y="935938"/>
            <a:ext cx="750707" cy="45719"/>
          </a:xfrm>
          <a:custGeom>
            <a:avLst/>
            <a:gdLst/>
            <a:ahLst/>
            <a:cxnLst/>
            <a:rect l="l" t="t" r="r" b="b"/>
            <a:pathLst>
              <a:path w="859790">
                <a:moveTo>
                  <a:pt x="0" y="0"/>
                </a:moveTo>
                <a:lnTo>
                  <a:pt x="859589" y="0"/>
                </a:lnTo>
              </a:path>
            </a:pathLst>
          </a:custGeom>
          <a:ln w="15875">
            <a:solidFill>
              <a:srgbClr val="B68150"/>
            </a:solidFill>
          </a:ln>
        </p:spPr>
        <p:txBody>
          <a:bodyPr wrap="square" lIns="0" tIns="0" rIns="0" bIns="0" rtlCol="0"/>
          <a:lstStyle/>
          <a:p>
            <a:endParaRPr/>
          </a:p>
        </p:txBody>
      </p:sp>
      <p:sp>
        <p:nvSpPr>
          <p:cNvPr id="8" name="bg object 18">
            <a:extLst>
              <a:ext uri="{FF2B5EF4-FFF2-40B4-BE49-F238E27FC236}">
                <a16:creationId xmlns:a16="http://schemas.microsoft.com/office/drawing/2014/main" id="{0CF38ED1-67CD-E573-205B-0ADFCBBD9F63}"/>
              </a:ext>
            </a:extLst>
          </p:cNvPr>
          <p:cNvSpPr/>
          <p:nvPr userDrawn="1"/>
        </p:nvSpPr>
        <p:spPr>
          <a:xfrm>
            <a:off x="820987" y="1008614"/>
            <a:ext cx="0" cy="6557645"/>
          </a:xfrm>
          <a:custGeom>
            <a:avLst/>
            <a:gdLst/>
            <a:ahLst/>
            <a:cxnLst/>
            <a:rect l="l" t="t" r="r" b="b"/>
            <a:pathLst>
              <a:path h="6557645">
                <a:moveTo>
                  <a:pt x="0" y="6557410"/>
                </a:moveTo>
                <a:lnTo>
                  <a:pt x="0" y="0"/>
                </a:lnTo>
              </a:path>
            </a:pathLst>
          </a:custGeom>
          <a:ln w="15875">
            <a:solidFill>
              <a:srgbClr val="B68150"/>
            </a:solidFill>
          </a:ln>
        </p:spPr>
        <p:txBody>
          <a:bodyPr wrap="square" lIns="0" tIns="0" rIns="0" bIns="0" rtlCol="0"/>
          <a:lstStyle/>
          <a:p>
            <a:endParaRPr/>
          </a:p>
        </p:txBody>
      </p:sp>
      <p:sp>
        <p:nvSpPr>
          <p:cNvPr id="9" name="bg object 25">
            <a:extLst>
              <a:ext uri="{FF2B5EF4-FFF2-40B4-BE49-F238E27FC236}">
                <a16:creationId xmlns:a16="http://schemas.microsoft.com/office/drawing/2014/main" id="{B73892B7-C356-2218-22D6-213E73C485F4}"/>
              </a:ext>
            </a:extLst>
          </p:cNvPr>
          <p:cNvSpPr/>
          <p:nvPr userDrawn="1"/>
        </p:nvSpPr>
        <p:spPr>
          <a:xfrm>
            <a:off x="199164" y="1168985"/>
            <a:ext cx="382905" cy="342900"/>
          </a:xfrm>
          <a:custGeom>
            <a:avLst/>
            <a:gdLst/>
            <a:ahLst/>
            <a:cxnLst/>
            <a:rect l="l" t="t" r="r" b="b"/>
            <a:pathLst>
              <a:path w="382905" h="342900">
                <a:moveTo>
                  <a:pt x="223847" y="0"/>
                </a:moveTo>
                <a:lnTo>
                  <a:pt x="181985" y="17308"/>
                </a:lnTo>
                <a:lnTo>
                  <a:pt x="164642" y="59088"/>
                </a:lnTo>
                <a:lnTo>
                  <a:pt x="165780" y="70705"/>
                </a:lnTo>
                <a:lnTo>
                  <a:pt x="169122" y="81713"/>
                </a:lnTo>
                <a:lnTo>
                  <a:pt x="174560" y="91854"/>
                </a:lnTo>
                <a:lnTo>
                  <a:pt x="181985" y="100868"/>
                </a:lnTo>
                <a:lnTo>
                  <a:pt x="198957" y="117820"/>
                </a:lnTo>
                <a:lnTo>
                  <a:pt x="208037" y="117807"/>
                </a:lnTo>
                <a:lnTo>
                  <a:pt x="219250" y="106643"/>
                </a:lnTo>
                <a:lnTo>
                  <a:pt x="219250" y="97567"/>
                </a:lnTo>
                <a:lnTo>
                  <a:pt x="196505" y="74867"/>
                </a:lnTo>
                <a:lnTo>
                  <a:pt x="193338" y="67221"/>
                </a:lnTo>
                <a:lnTo>
                  <a:pt x="193338" y="50956"/>
                </a:lnTo>
                <a:lnTo>
                  <a:pt x="196505" y="43309"/>
                </a:lnTo>
                <a:lnTo>
                  <a:pt x="208024" y="31812"/>
                </a:lnTo>
                <a:lnTo>
                  <a:pt x="215687" y="28651"/>
                </a:lnTo>
                <a:lnTo>
                  <a:pt x="231983" y="28651"/>
                </a:lnTo>
                <a:lnTo>
                  <a:pt x="239645" y="31812"/>
                </a:lnTo>
                <a:lnTo>
                  <a:pt x="321430" y="113435"/>
                </a:lnTo>
                <a:lnTo>
                  <a:pt x="347240" y="152276"/>
                </a:lnTo>
                <a:lnTo>
                  <a:pt x="355843" y="196497"/>
                </a:lnTo>
                <a:lnTo>
                  <a:pt x="347240" y="240716"/>
                </a:lnTo>
                <a:lnTo>
                  <a:pt x="321430" y="279549"/>
                </a:lnTo>
                <a:lnTo>
                  <a:pt x="282517" y="305310"/>
                </a:lnTo>
                <a:lnTo>
                  <a:pt x="238208" y="313897"/>
                </a:lnTo>
                <a:lnTo>
                  <a:pt x="193899" y="305310"/>
                </a:lnTo>
                <a:lnTo>
                  <a:pt x="154987" y="279549"/>
                </a:lnTo>
                <a:lnTo>
                  <a:pt x="38236" y="163015"/>
                </a:lnTo>
                <a:lnTo>
                  <a:pt x="31095" y="152273"/>
                </a:lnTo>
                <a:lnTo>
                  <a:pt x="28715" y="140042"/>
                </a:lnTo>
                <a:lnTo>
                  <a:pt x="31095" y="127811"/>
                </a:lnTo>
                <a:lnTo>
                  <a:pt x="38236" y="117068"/>
                </a:lnTo>
                <a:lnTo>
                  <a:pt x="43842" y="111472"/>
                </a:lnTo>
                <a:lnTo>
                  <a:pt x="43842" y="102410"/>
                </a:lnTo>
                <a:lnTo>
                  <a:pt x="4632" y="116640"/>
                </a:lnTo>
                <a:lnTo>
                  <a:pt x="0" y="140047"/>
                </a:lnTo>
                <a:lnTo>
                  <a:pt x="1176" y="152067"/>
                </a:lnTo>
                <a:lnTo>
                  <a:pt x="134707" y="299802"/>
                </a:lnTo>
                <a:lnTo>
                  <a:pt x="183103" y="331847"/>
                </a:lnTo>
                <a:lnTo>
                  <a:pt x="238215" y="342526"/>
                </a:lnTo>
                <a:lnTo>
                  <a:pt x="266194" y="339857"/>
                </a:lnTo>
                <a:lnTo>
                  <a:pt x="318791" y="318496"/>
                </a:lnTo>
                <a:lnTo>
                  <a:pt x="369130" y="261909"/>
                </a:lnTo>
                <a:lnTo>
                  <a:pt x="382827" y="218870"/>
                </a:lnTo>
                <a:lnTo>
                  <a:pt x="382827" y="174115"/>
                </a:lnTo>
                <a:lnTo>
                  <a:pt x="369130" y="131075"/>
                </a:lnTo>
                <a:lnTo>
                  <a:pt x="341735" y="93182"/>
                </a:lnTo>
                <a:lnTo>
                  <a:pt x="265710" y="17308"/>
                </a:lnTo>
                <a:lnTo>
                  <a:pt x="235485" y="1134"/>
                </a:lnTo>
                <a:lnTo>
                  <a:pt x="223847" y="0"/>
                </a:lnTo>
                <a:close/>
              </a:path>
            </a:pathLst>
          </a:custGeom>
          <a:solidFill>
            <a:srgbClr val="2E3842"/>
          </a:solidFill>
        </p:spPr>
        <p:txBody>
          <a:bodyPr wrap="square" lIns="0" tIns="0" rIns="0" bIns="0" rtlCol="0"/>
          <a:lstStyle/>
          <a:p>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9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434E2B-15E8-B3B3-2C7D-1E76FF506A6C}"/>
              </a:ext>
            </a:extLst>
          </p:cNvPr>
          <p:cNvGraphicFramePr>
            <a:graphicFrameLocks noChangeAspect="1"/>
          </p:cNvGraphicFramePr>
          <p:nvPr userDrawn="1">
            <p:custDataLst>
              <p:tags r:id="rId5"/>
            </p:custDataLst>
          </p:nvPr>
        </p:nvGraphicFramePr>
        <p:xfrm>
          <a:off x="1393" y="1750"/>
          <a:ext cx="1393" cy="1750"/>
        </p:xfrm>
        <a:graphic>
          <a:graphicData uri="http://schemas.openxmlformats.org/presentationml/2006/ole">
            <mc:AlternateContent xmlns:mc="http://schemas.openxmlformats.org/markup-compatibility/2006">
              <mc:Choice xmlns:v="urn:schemas-microsoft-com:vml" Requires="v">
                <p:oleObj name="think-cell Slide" r:id="rId6" imgW="359" imgH="358" progId="TCLayout.ActiveDocument.1">
                  <p:embed/>
                </p:oleObj>
              </mc:Choice>
              <mc:Fallback>
                <p:oleObj name="think-cell Slide" r:id="rId6" imgW="359" imgH="358" progId="TCLayout.ActiveDocument.1">
                  <p:embed/>
                  <p:pic>
                    <p:nvPicPr>
                      <p:cNvPr id="6" name="Object 5" hidden="1">
                        <a:extLst>
                          <a:ext uri="{FF2B5EF4-FFF2-40B4-BE49-F238E27FC236}">
                            <a16:creationId xmlns:a16="http://schemas.microsoft.com/office/drawing/2014/main" id="{64434E2B-15E8-B3B3-2C7D-1E76FF506A6C}"/>
                          </a:ext>
                        </a:extLst>
                      </p:cNvPr>
                      <p:cNvPicPr/>
                      <p:nvPr/>
                    </p:nvPicPr>
                    <p:blipFill>
                      <a:blip r:embed="rId7"/>
                      <a:stretch>
                        <a:fillRect/>
                      </a:stretch>
                    </p:blipFill>
                    <p:spPr>
                      <a:xfrm>
                        <a:off x="1393" y="1750"/>
                        <a:ext cx="1393" cy="1750"/>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018D722-AE80-B47B-ED4E-17BD679003A9}"/>
              </a:ext>
            </a:extLst>
          </p:cNvPr>
          <p:cNvSpPr>
            <a:spLocks noGrp="1"/>
          </p:cNvSpPr>
          <p:nvPr>
            <p:ph type="title"/>
          </p:nvPr>
        </p:nvSpPr>
        <p:spPr>
          <a:xfrm>
            <a:off x="633528" y="516162"/>
            <a:ext cx="9426344" cy="432491"/>
          </a:xfrm>
          <a:prstGeom prst="rect">
            <a:avLst/>
          </a:prstGeom>
        </p:spPr>
        <p:txBody>
          <a:bodyPr vert="horz" lIns="91440" tIns="45720" rIns="91440" bIns="45720" rtlCol="0" anchor="t" anchorCtr="0">
            <a:sp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70279A38-5110-2142-E097-872F4B2BD5F5}"/>
              </a:ext>
            </a:extLst>
          </p:cNvPr>
          <p:cNvSpPr>
            <a:spLocks noGrp="1"/>
          </p:cNvSpPr>
          <p:nvPr>
            <p:ph type="body" idx="1"/>
          </p:nvPr>
        </p:nvSpPr>
        <p:spPr>
          <a:xfrm>
            <a:off x="633529" y="1630943"/>
            <a:ext cx="9426343" cy="5129676"/>
          </a:xfrm>
          <a:prstGeom prst="rect">
            <a:avLst/>
          </a:prstGeom>
        </p:spPr>
        <p:txBody>
          <a:bodyPr vert="horz" lIns="91440" tIns="45720" rIns="91440" bIns="4572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grpSp>
        <p:nvGrpSpPr>
          <p:cNvPr id="4" name="Group 3">
            <a:extLst>
              <a:ext uri="{FF2B5EF4-FFF2-40B4-BE49-F238E27FC236}">
                <a16:creationId xmlns:a16="http://schemas.microsoft.com/office/drawing/2014/main" id="{8D186879-43D6-433E-61C9-F3C9616EE006}"/>
              </a:ext>
            </a:extLst>
          </p:cNvPr>
          <p:cNvGrpSpPr/>
          <p:nvPr userDrawn="1"/>
        </p:nvGrpSpPr>
        <p:grpSpPr>
          <a:xfrm>
            <a:off x="0" y="6913514"/>
            <a:ext cx="10693400" cy="642986"/>
            <a:chOff x="0" y="6274450"/>
            <a:chExt cx="12192000" cy="583550"/>
          </a:xfrm>
        </p:grpSpPr>
        <p:sp>
          <p:nvSpPr>
            <p:cNvPr id="23" name="Rectangle 22">
              <a:extLst>
                <a:ext uri="{FF2B5EF4-FFF2-40B4-BE49-F238E27FC236}">
                  <a16:creationId xmlns:a16="http://schemas.microsoft.com/office/drawing/2014/main" id="{D42D5676-1A0A-3D6A-4520-E8F2B6AEB4F8}"/>
                </a:ext>
              </a:extLst>
            </p:cNvPr>
            <p:cNvSpPr/>
            <p:nvPr userDrawn="1"/>
          </p:nvSpPr>
          <p:spPr>
            <a:xfrm>
              <a:off x="0" y="6274450"/>
              <a:ext cx="12192000" cy="583550"/>
            </a:xfrm>
            <a:prstGeom prst="rect">
              <a:avLst/>
            </a:prstGeom>
            <a:solidFill>
              <a:srgbClr val="1F2D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644CC43F-0ECA-4820-4ECB-F93E146CEAD5}"/>
                </a:ext>
              </a:extLst>
            </p:cNvPr>
            <p:cNvGrpSpPr/>
            <p:nvPr/>
          </p:nvGrpSpPr>
          <p:grpSpPr>
            <a:xfrm>
              <a:off x="724394" y="6483517"/>
              <a:ext cx="613412" cy="173104"/>
              <a:chOff x="3370030" y="2260711"/>
              <a:chExt cx="2531900" cy="714495"/>
            </a:xfrm>
          </p:grpSpPr>
          <p:sp>
            <p:nvSpPr>
              <p:cNvPr id="13" name="Freeform 5">
                <a:extLst>
                  <a:ext uri="{FF2B5EF4-FFF2-40B4-BE49-F238E27FC236}">
                    <a16:creationId xmlns:a16="http://schemas.microsoft.com/office/drawing/2014/main" id="{E3365FB8-5A65-3345-937E-47CE33D2DB56}"/>
                  </a:ext>
                </a:extLst>
              </p:cNvPr>
              <p:cNvSpPr>
                <a:spLocks/>
              </p:cNvSpPr>
              <p:nvPr/>
            </p:nvSpPr>
            <p:spPr bwMode="auto">
              <a:xfrm>
                <a:off x="5389960" y="2292976"/>
                <a:ext cx="213122" cy="348854"/>
              </a:xfrm>
              <a:custGeom>
                <a:avLst/>
                <a:gdLst>
                  <a:gd name="T0" fmla="*/ 0 w 104"/>
                  <a:gd name="T1" fmla="*/ 143 h 169"/>
                  <a:gd name="T2" fmla="*/ 2 w 104"/>
                  <a:gd name="T3" fmla="*/ 140 h 169"/>
                  <a:gd name="T4" fmla="*/ 60 w 104"/>
                  <a:gd name="T5" fmla="*/ 71 h 169"/>
                  <a:gd name="T6" fmla="*/ 70 w 104"/>
                  <a:gd name="T7" fmla="*/ 48 h 169"/>
                  <a:gd name="T8" fmla="*/ 52 w 104"/>
                  <a:gd name="T9" fmla="*/ 29 h 169"/>
                  <a:gd name="T10" fmla="*/ 32 w 104"/>
                  <a:gd name="T11" fmla="*/ 49 h 169"/>
                  <a:gd name="T12" fmla="*/ 29 w 104"/>
                  <a:gd name="T13" fmla="*/ 51 h 169"/>
                  <a:gd name="T14" fmla="*/ 3 w 104"/>
                  <a:gd name="T15" fmla="*/ 46 h 169"/>
                  <a:gd name="T16" fmla="*/ 1 w 104"/>
                  <a:gd name="T17" fmla="*/ 43 h 169"/>
                  <a:gd name="T18" fmla="*/ 53 w 104"/>
                  <a:gd name="T19" fmla="*/ 0 h 169"/>
                  <a:gd name="T20" fmla="*/ 104 w 104"/>
                  <a:gd name="T21" fmla="*/ 48 h 169"/>
                  <a:gd name="T22" fmla="*/ 87 w 104"/>
                  <a:gd name="T23" fmla="*/ 88 h 169"/>
                  <a:gd name="T24" fmla="*/ 43 w 104"/>
                  <a:gd name="T25" fmla="*/ 139 h 169"/>
                  <a:gd name="T26" fmla="*/ 43 w 104"/>
                  <a:gd name="T27" fmla="*/ 140 h 169"/>
                  <a:gd name="T28" fmla="*/ 101 w 104"/>
                  <a:gd name="T29" fmla="*/ 140 h 169"/>
                  <a:gd name="T30" fmla="*/ 104 w 104"/>
                  <a:gd name="T31" fmla="*/ 142 h 169"/>
                  <a:gd name="T32" fmla="*/ 104 w 104"/>
                  <a:gd name="T33" fmla="*/ 166 h 169"/>
                  <a:gd name="T34" fmla="*/ 101 w 104"/>
                  <a:gd name="T35" fmla="*/ 169 h 169"/>
                  <a:gd name="T36" fmla="*/ 3 w 104"/>
                  <a:gd name="T37" fmla="*/ 169 h 169"/>
                  <a:gd name="T38" fmla="*/ 0 w 104"/>
                  <a:gd name="T39" fmla="*/ 166 h 169"/>
                  <a:gd name="T40" fmla="*/ 0 w 104"/>
                  <a:gd name="T41" fmla="*/ 14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169">
                    <a:moveTo>
                      <a:pt x="0" y="143"/>
                    </a:moveTo>
                    <a:cubicBezTo>
                      <a:pt x="0" y="142"/>
                      <a:pt x="1" y="141"/>
                      <a:pt x="2" y="140"/>
                    </a:cubicBezTo>
                    <a:cubicBezTo>
                      <a:pt x="60" y="71"/>
                      <a:pt x="60" y="71"/>
                      <a:pt x="60" y="71"/>
                    </a:cubicBezTo>
                    <a:cubicBezTo>
                      <a:pt x="66" y="64"/>
                      <a:pt x="70" y="57"/>
                      <a:pt x="70" y="48"/>
                    </a:cubicBezTo>
                    <a:cubicBezTo>
                      <a:pt x="70" y="37"/>
                      <a:pt x="63" y="29"/>
                      <a:pt x="52" y="29"/>
                    </a:cubicBezTo>
                    <a:cubicBezTo>
                      <a:pt x="40" y="29"/>
                      <a:pt x="34" y="36"/>
                      <a:pt x="32" y="49"/>
                    </a:cubicBezTo>
                    <a:cubicBezTo>
                      <a:pt x="32" y="50"/>
                      <a:pt x="31" y="51"/>
                      <a:pt x="29" y="51"/>
                    </a:cubicBezTo>
                    <a:cubicBezTo>
                      <a:pt x="3" y="46"/>
                      <a:pt x="3" y="46"/>
                      <a:pt x="3" y="46"/>
                    </a:cubicBezTo>
                    <a:cubicBezTo>
                      <a:pt x="1" y="46"/>
                      <a:pt x="0" y="45"/>
                      <a:pt x="1" y="43"/>
                    </a:cubicBezTo>
                    <a:cubicBezTo>
                      <a:pt x="2" y="20"/>
                      <a:pt x="21" y="0"/>
                      <a:pt x="53" y="0"/>
                    </a:cubicBezTo>
                    <a:cubicBezTo>
                      <a:pt x="84" y="0"/>
                      <a:pt x="104" y="21"/>
                      <a:pt x="104" y="48"/>
                    </a:cubicBezTo>
                    <a:cubicBezTo>
                      <a:pt x="104" y="63"/>
                      <a:pt x="97" y="76"/>
                      <a:pt x="87" y="88"/>
                    </a:cubicBezTo>
                    <a:cubicBezTo>
                      <a:pt x="43" y="139"/>
                      <a:pt x="43" y="139"/>
                      <a:pt x="43" y="139"/>
                    </a:cubicBezTo>
                    <a:cubicBezTo>
                      <a:pt x="43" y="140"/>
                      <a:pt x="43" y="140"/>
                      <a:pt x="43" y="140"/>
                    </a:cubicBezTo>
                    <a:cubicBezTo>
                      <a:pt x="101" y="140"/>
                      <a:pt x="101" y="140"/>
                      <a:pt x="101" y="140"/>
                    </a:cubicBezTo>
                    <a:cubicBezTo>
                      <a:pt x="103" y="140"/>
                      <a:pt x="104" y="141"/>
                      <a:pt x="104" y="142"/>
                    </a:cubicBezTo>
                    <a:cubicBezTo>
                      <a:pt x="104" y="166"/>
                      <a:pt x="104" y="166"/>
                      <a:pt x="104" y="166"/>
                    </a:cubicBezTo>
                    <a:cubicBezTo>
                      <a:pt x="104" y="168"/>
                      <a:pt x="103" y="169"/>
                      <a:pt x="101" y="169"/>
                    </a:cubicBezTo>
                    <a:cubicBezTo>
                      <a:pt x="3" y="169"/>
                      <a:pt x="3" y="169"/>
                      <a:pt x="3" y="169"/>
                    </a:cubicBezTo>
                    <a:cubicBezTo>
                      <a:pt x="1" y="169"/>
                      <a:pt x="0" y="168"/>
                      <a:pt x="0" y="166"/>
                    </a:cubicBezTo>
                    <a:lnTo>
                      <a:pt x="0" y="143"/>
                    </a:lnTo>
                    <a:close/>
                  </a:path>
                </a:pathLst>
              </a:custGeom>
              <a:solidFill>
                <a:srgbClr val="EDCB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54">
                  <a:defRPr/>
                </a:pPr>
                <a:endParaRPr lang="pt-BR" sz="1185">
                  <a:solidFill>
                    <a:prstClr val="black"/>
                  </a:solidFill>
                  <a:latin typeface="Arial" panose="020B0604020202020204"/>
                </a:endParaRPr>
              </a:p>
            </p:txBody>
          </p:sp>
          <p:sp>
            <p:nvSpPr>
              <p:cNvPr id="14" name="Freeform 6">
                <a:extLst>
                  <a:ext uri="{FF2B5EF4-FFF2-40B4-BE49-F238E27FC236}">
                    <a16:creationId xmlns:a16="http://schemas.microsoft.com/office/drawing/2014/main" id="{5FDB9F33-90CA-3113-E716-413E0BFFF178}"/>
                  </a:ext>
                </a:extLst>
              </p:cNvPr>
              <p:cNvSpPr>
                <a:spLocks/>
              </p:cNvSpPr>
              <p:nvPr/>
            </p:nvSpPr>
            <p:spPr bwMode="auto">
              <a:xfrm>
                <a:off x="5664995" y="2298930"/>
                <a:ext cx="236935" cy="342900"/>
              </a:xfrm>
              <a:custGeom>
                <a:avLst/>
                <a:gdLst>
                  <a:gd name="T0" fmla="*/ 0 w 116"/>
                  <a:gd name="T1" fmla="*/ 139 h 166"/>
                  <a:gd name="T2" fmla="*/ 0 w 116"/>
                  <a:gd name="T3" fmla="*/ 114 h 166"/>
                  <a:gd name="T4" fmla="*/ 1 w 116"/>
                  <a:gd name="T5" fmla="*/ 111 h 166"/>
                  <a:gd name="T6" fmla="*/ 50 w 116"/>
                  <a:gd name="T7" fmla="*/ 2 h 166"/>
                  <a:gd name="T8" fmla="*/ 54 w 116"/>
                  <a:gd name="T9" fmla="*/ 0 h 166"/>
                  <a:gd name="T10" fmla="*/ 85 w 116"/>
                  <a:gd name="T11" fmla="*/ 0 h 166"/>
                  <a:gd name="T12" fmla="*/ 86 w 116"/>
                  <a:gd name="T13" fmla="*/ 3 h 166"/>
                  <a:gd name="T14" fmla="*/ 37 w 116"/>
                  <a:gd name="T15" fmla="*/ 111 h 166"/>
                  <a:gd name="T16" fmla="*/ 37 w 116"/>
                  <a:gd name="T17" fmla="*/ 112 h 166"/>
                  <a:gd name="T18" fmla="*/ 67 w 116"/>
                  <a:gd name="T19" fmla="*/ 112 h 166"/>
                  <a:gd name="T20" fmla="*/ 68 w 116"/>
                  <a:gd name="T21" fmla="*/ 111 h 166"/>
                  <a:gd name="T22" fmla="*/ 68 w 116"/>
                  <a:gd name="T23" fmla="*/ 75 h 166"/>
                  <a:gd name="T24" fmla="*/ 71 w 116"/>
                  <a:gd name="T25" fmla="*/ 72 h 166"/>
                  <a:gd name="T26" fmla="*/ 99 w 116"/>
                  <a:gd name="T27" fmla="*/ 72 h 166"/>
                  <a:gd name="T28" fmla="*/ 102 w 116"/>
                  <a:gd name="T29" fmla="*/ 75 h 166"/>
                  <a:gd name="T30" fmla="*/ 102 w 116"/>
                  <a:gd name="T31" fmla="*/ 111 h 166"/>
                  <a:gd name="T32" fmla="*/ 103 w 116"/>
                  <a:gd name="T33" fmla="*/ 112 h 166"/>
                  <a:gd name="T34" fmla="*/ 114 w 116"/>
                  <a:gd name="T35" fmla="*/ 112 h 166"/>
                  <a:gd name="T36" fmla="*/ 116 w 116"/>
                  <a:gd name="T37" fmla="*/ 114 h 166"/>
                  <a:gd name="T38" fmla="*/ 116 w 116"/>
                  <a:gd name="T39" fmla="*/ 139 h 166"/>
                  <a:gd name="T40" fmla="*/ 114 w 116"/>
                  <a:gd name="T41" fmla="*/ 141 h 166"/>
                  <a:gd name="T42" fmla="*/ 103 w 116"/>
                  <a:gd name="T43" fmla="*/ 141 h 166"/>
                  <a:gd name="T44" fmla="*/ 102 w 116"/>
                  <a:gd name="T45" fmla="*/ 143 h 166"/>
                  <a:gd name="T46" fmla="*/ 102 w 116"/>
                  <a:gd name="T47" fmla="*/ 163 h 166"/>
                  <a:gd name="T48" fmla="*/ 99 w 116"/>
                  <a:gd name="T49" fmla="*/ 166 h 166"/>
                  <a:gd name="T50" fmla="*/ 71 w 116"/>
                  <a:gd name="T51" fmla="*/ 166 h 166"/>
                  <a:gd name="T52" fmla="*/ 68 w 116"/>
                  <a:gd name="T53" fmla="*/ 163 h 166"/>
                  <a:gd name="T54" fmla="*/ 68 w 116"/>
                  <a:gd name="T55" fmla="*/ 143 h 166"/>
                  <a:gd name="T56" fmla="*/ 67 w 116"/>
                  <a:gd name="T57" fmla="*/ 141 h 166"/>
                  <a:gd name="T58" fmla="*/ 3 w 116"/>
                  <a:gd name="T59" fmla="*/ 141 h 166"/>
                  <a:gd name="T60" fmla="*/ 0 w 116"/>
                  <a:gd name="T61" fmla="*/ 13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66">
                    <a:moveTo>
                      <a:pt x="0" y="139"/>
                    </a:moveTo>
                    <a:cubicBezTo>
                      <a:pt x="0" y="114"/>
                      <a:pt x="0" y="114"/>
                      <a:pt x="0" y="114"/>
                    </a:cubicBezTo>
                    <a:cubicBezTo>
                      <a:pt x="0" y="113"/>
                      <a:pt x="0" y="112"/>
                      <a:pt x="1" y="111"/>
                    </a:cubicBezTo>
                    <a:cubicBezTo>
                      <a:pt x="50" y="2"/>
                      <a:pt x="50" y="2"/>
                      <a:pt x="50" y="2"/>
                    </a:cubicBezTo>
                    <a:cubicBezTo>
                      <a:pt x="51" y="1"/>
                      <a:pt x="52" y="0"/>
                      <a:pt x="54" y="0"/>
                    </a:cubicBezTo>
                    <a:cubicBezTo>
                      <a:pt x="85" y="0"/>
                      <a:pt x="85" y="0"/>
                      <a:pt x="85" y="0"/>
                    </a:cubicBezTo>
                    <a:cubicBezTo>
                      <a:pt x="86" y="0"/>
                      <a:pt x="87" y="1"/>
                      <a:pt x="86" y="3"/>
                    </a:cubicBezTo>
                    <a:cubicBezTo>
                      <a:pt x="37" y="111"/>
                      <a:pt x="37" y="111"/>
                      <a:pt x="37" y="111"/>
                    </a:cubicBezTo>
                    <a:cubicBezTo>
                      <a:pt x="37" y="112"/>
                      <a:pt x="37" y="112"/>
                      <a:pt x="37" y="112"/>
                    </a:cubicBezTo>
                    <a:cubicBezTo>
                      <a:pt x="67" y="112"/>
                      <a:pt x="67" y="112"/>
                      <a:pt x="67" y="112"/>
                    </a:cubicBezTo>
                    <a:cubicBezTo>
                      <a:pt x="68" y="112"/>
                      <a:pt x="68" y="112"/>
                      <a:pt x="68" y="111"/>
                    </a:cubicBezTo>
                    <a:cubicBezTo>
                      <a:pt x="68" y="75"/>
                      <a:pt x="68" y="75"/>
                      <a:pt x="68" y="75"/>
                    </a:cubicBezTo>
                    <a:cubicBezTo>
                      <a:pt x="68" y="73"/>
                      <a:pt x="69" y="72"/>
                      <a:pt x="71" y="72"/>
                    </a:cubicBezTo>
                    <a:cubicBezTo>
                      <a:pt x="99" y="72"/>
                      <a:pt x="99" y="72"/>
                      <a:pt x="99" y="72"/>
                    </a:cubicBezTo>
                    <a:cubicBezTo>
                      <a:pt x="101" y="72"/>
                      <a:pt x="102" y="73"/>
                      <a:pt x="102" y="75"/>
                    </a:cubicBezTo>
                    <a:cubicBezTo>
                      <a:pt x="102" y="111"/>
                      <a:pt x="102" y="111"/>
                      <a:pt x="102" y="111"/>
                    </a:cubicBezTo>
                    <a:cubicBezTo>
                      <a:pt x="102" y="112"/>
                      <a:pt x="102" y="112"/>
                      <a:pt x="103" y="112"/>
                    </a:cubicBezTo>
                    <a:cubicBezTo>
                      <a:pt x="114" y="112"/>
                      <a:pt x="114" y="112"/>
                      <a:pt x="114" y="112"/>
                    </a:cubicBezTo>
                    <a:cubicBezTo>
                      <a:pt x="115" y="112"/>
                      <a:pt x="116" y="113"/>
                      <a:pt x="116" y="114"/>
                    </a:cubicBezTo>
                    <a:cubicBezTo>
                      <a:pt x="116" y="139"/>
                      <a:pt x="116" y="139"/>
                      <a:pt x="116" y="139"/>
                    </a:cubicBezTo>
                    <a:cubicBezTo>
                      <a:pt x="116" y="140"/>
                      <a:pt x="115" y="141"/>
                      <a:pt x="114" y="141"/>
                    </a:cubicBezTo>
                    <a:cubicBezTo>
                      <a:pt x="103" y="141"/>
                      <a:pt x="103" y="141"/>
                      <a:pt x="103" y="141"/>
                    </a:cubicBezTo>
                    <a:cubicBezTo>
                      <a:pt x="102" y="141"/>
                      <a:pt x="102" y="142"/>
                      <a:pt x="102" y="143"/>
                    </a:cubicBezTo>
                    <a:cubicBezTo>
                      <a:pt x="102" y="163"/>
                      <a:pt x="102" y="163"/>
                      <a:pt x="102" y="163"/>
                    </a:cubicBezTo>
                    <a:cubicBezTo>
                      <a:pt x="102" y="165"/>
                      <a:pt x="101" y="166"/>
                      <a:pt x="99" y="166"/>
                    </a:cubicBezTo>
                    <a:cubicBezTo>
                      <a:pt x="71" y="166"/>
                      <a:pt x="71" y="166"/>
                      <a:pt x="71" y="166"/>
                    </a:cubicBezTo>
                    <a:cubicBezTo>
                      <a:pt x="69" y="166"/>
                      <a:pt x="68" y="165"/>
                      <a:pt x="68" y="163"/>
                    </a:cubicBezTo>
                    <a:cubicBezTo>
                      <a:pt x="68" y="143"/>
                      <a:pt x="68" y="143"/>
                      <a:pt x="68" y="143"/>
                    </a:cubicBezTo>
                    <a:cubicBezTo>
                      <a:pt x="68" y="142"/>
                      <a:pt x="68" y="141"/>
                      <a:pt x="67" y="141"/>
                    </a:cubicBezTo>
                    <a:cubicBezTo>
                      <a:pt x="3" y="141"/>
                      <a:pt x="3" y="141"/>
                      <a:pt x="3" y="141"/>
                    </a:cubicBezTo>
                    <a:cubicBezTo>
                      <a:pt x="1" y="141"/>
                      <a:pt x="0" y="140"/>
                      <a:pt x="0" y="139"/>
                    </a:cubicBezTo>
                  </a:path>
                </a:pathLst>
              </a:custGeom>
              <a:solidFill>
                <a:srgbClr val="EDCB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54">
                  <a:defRPr/>
                </a:pPr>
                <a:endParaRPr lang="pt-BR" sz="1185">
                  <a:solidFill>
                    <a:prstClr val="black"/>
                  </a:solidFill>
                  <a:latin typeface="Arial" panose="020B0604020202020204"/>
                </a:endParaRPr>
              </a:p>
            </p:txBody>
          </p:sp>
          <p:sp>
            <p:nvSpPr>
              <p:cNvPr id="15" name="Freeform 8">
                <a:extLst>
                  <a:ext uri="{FF2B5EF4-FFF2-40B4-BE49-F238E27FC236}">
                    <a16:creationId xmlns:a16="http://schemas.microsoft.com/office/drawing/2014/main" id="{C578FB9D-C724-0D26-5655-9FA7834BBA08}"/>
                  </a:ext>
                </a:extLst>
              </p:cNvPr>
              <p:cNvSpPr>
                <a:spLocks/>
              </p:cNvSpPr>
              <p:nvPr/>
            </p:nvSpPr>
            <p:spPr bwMode="auto">
              <a:xfrm>
                <a:off x="4071939" y="2295359"/>
                <a:ext cx="235744" cy="679847"/>
              </a:xfrm>
              <a:custGeom>
                <a:avLst/>
                <a:gdLst>
                  <a:gd name="T0" fmla="*/ 110 w 115"/>
                  <a:gd name="T1" fmla="*/ 267 h 330"/>
                  <a:gd name="T2" fmla="*/ 110 w 115"/>
                  <a:gd name="T3" fmla="*/ 267 h 330"/>
                  <a:gd name="T4" fmla="*/ 71 w 115"/>
                  <a:gd name="T5" fmla="*/ 207 h 330"/>
                  <a:gd name="T6" fmla="*/ 71 w 115"/>
                  <a:gd name="T7" fmla="*/ 5 h 330"/>
                  <a:gd name="T8" fmla="*/ 66 w 115"/>
                  <a:gd name="T9" fmla="*/ 0 h 330"/>
                  <a:gd name="T10" fmla="*/ 5 w 115"/>
                  <a:gd name="T11" fmla="*/ 0 h 330"/>
                  <a:gd name="T12" fmla="*/ 0 w 115"/>
                  <a:gd name="T13" fmla="*/ 5 h 330"/>
                  <a:gd name="T14" fmla="*/ 0 w 115"/>
                  <a:gd name="T15" fmla="*/ 205 h 330"/>
                  <a:gd name="T16" fmla="*/ 109 w 115"/>
                  <a:gd name="T17" fmla="*/ 330 h 330"/>
                  <a:gd name="T18" fmla="*/ 109 w 115"/>
                  <a:gd name="T19" fmla="*/ 330 h 330"/>
                  <a:gd name="T20" fmla="*/ 110 w 115"/>
                  <a:gd name="T21" fmla="*/ 330 h 330"/>
                  <a:gd name="T22" fmla="*/ 110 w 115"/>
                  <a:gd name="T23" fmla="*/ 330 h 330"/>
                  <a:gd name="T24" fmla="*/ 110 w 115"/>
                  <a:gd name="T25" fmla="*/ 330 h 330"/>
                  <a:gd name="T26" fmla="*/ 115 w 115"/>
                  <a:gd name="T27" fmla="*/ 324 h 330"/>
                  <a:gd name="T28" fmla="*/ 115 w 115"/>
                  <a:gd name="T29" fmla="*/ 272 h 330"/>
                  <a:gd name="T30" fmla="*/ 110 w 115"/>
                  <a:gd name="T31"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330">
                    <a:moveTo>
                      <a:pt x="110" y="267"/>
                    </a:moveTo>
                    <a:cubicBezTo>
                      <a:pt x="110" y="267"/>
                      <a:pt x="110" y="267"/>
                      <a:pt x="110" y="267"/>
                    </a:cubicBezTo>
                    <a:cubicBezTo>
                      <a:pt x="83" y="263"/>
                      <a:pt x="71" y="242"/>
                      <a:pt x="71" y="207"/>
                    </a:cubicBezTo>
                    <a:cubicBezTo>
                      <a:pt x="71" y="5"/>
                      <a:pt x="71" y="5"/>
                      <a:pt x="71" y="5"/>
                    </a:cubicBezTo>
                    <a:cubicBezTo>
                      <a:pt x="71" y="2"/>
                      <a:pt x="69" y="0"/>
                      <a:pt x="66" y="0"/>
                    </a:cubicBezTo>
                    <a:cubicBezTo>
                      <a:pt x="5" y="0"/>
                      <a:pt x="5" y="0"/>
                      <a:pt x="5" y="0"/>
                    </a:cubicBezTo>
                    <a:cubicBezTo>
                      <a:pt x="2" y="0"/>
                      <a:pt x="0" y="2"/>
                      <a:pt x="0" y="5"/>
                    </a:cubicBezTo>
                    <a:cubicBezTo>
                      <a:pt x="0" y="205"/>
                      <a:pt x="0" y="205"/>
                      <a:pt x="0" y="205"/>
                    </a:cubicBezTo>
                    <a:cubicBezTo>
                      <a:pt x="0" y="282"/>
                      <a:pt x="42" y="325"/>
                      <a:pt x="109" y="330"/>
                    </a:cubicBezTo>
                    <a:cubicBezTo>
                      <a:pt x="109" y="330"/>
                      <a:pt x="109" y="330"/>
                      <a:pt x="109" y="330"/>
                    </a:cubicBezTo>
                    <a:cubicBezTo>
                      <a:pt x="110" y="330"/>
                      <a:pt x="110" y="330"/>
                      <a:pt x="110" y="330"/>
                    </a:cubicBezTo>
                    <a:cubicBezTo>
                      <a:pt x="110" y="330"/>
                      <a:pt x="110" y="330"/>
                      <a:pt x="110" y="330"/>
                    </a:cubicBezTo>
                    <a:cubicBezTo>
                      <a:pt x="110" y="330"/>
                      <a:pt x="110" y="330"/>
                      <a:pt x="110" y="330"/>
                    </a:cubicBezTo>
                    <a:cubicBezTo>
                      <a:pt x="113" y="330"/>
                      <a:pt x="115" y="327"/>
                      <a:pt x="115" y="324"/>
                    </a:cubicBezTo>
                    <a:cubicBezTo>
                      <a:pt x="115" y="272"/>
                      <a:pt x="115" y="272"/>
                      <a:pt x="115" y="272"/>
                    </a:cubicBezTo>
                    <a:cubicBezTo>
                      <a:pt x="115" y="269"/>
                      <a:pt x="113" y="267"/>
                      <a:pt x="110" y="26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54">
                  <a:defRPr/>
                </a:pPr>
                <a:endParaRPr lang="pt-BR" sz="1185">
                  <a:solidFill>
                    <a:prstClr val="black"/>
                  </a:solidFill>
                  <a:latin typeface="Arial" panose="020B0604020202020204"/>
                </a:endParaRPr>
              </a:p>
            </p:txBody>
          </p:sp>
          <p:sp>
            <p:nvSpPr>
              <p:cNvPr id="16" name="Freeform 9">
                <a:extLst>
                  <a:ext uri="{FF2B5EF4-FFF2-40B4-BE49-F238E27FC236}">
                    <a16:creationId xmlns:a16="http://schemas.microsoft.com/office/drawing/2014/main" id="{3446A18C-036D-EB22-F357-B4E1A1B9987D}"/>
                  </a:ext>
                </a:extLst>
              </p:cNvPr>
              <p:cNvSpPr>
                <a:spLocks/>
              </p:cNvSpPr>
              <p:nvPr/>
            </p:nvSpPr>
            <p:spPr bwMode="auto">
              <a:xfrm>
                <a:off x="4358880" y="2295359"/>
                <a:ext cx="241697" cy="679847"/>
              </a:xfrm>
              <a:custGeom>
                <a:avLst/>
                <a:gdLst>
                  <a:gd name="T0" fmla="*/ 113 w 118"/>
                  <a:gd name="T1" fmla="*/ 0 h 330"/>
                  <a:gd name="T2" fmla="*/ 53 w 118"/>
                  <a:gd name="T3" fmla="*/ 0 h 330"/>
                  <a:gd name="T4" fmla="*/ 48 w 118"/>
                  <a:gd name="T5" fmla="*/ 5 h 330"/>
                  <a:gd name="T6" fmla="*/ 48 w 118"/>
                  <a:gd name="T7" fmla="*/ 207 h 330"/>
                  <a:gd name="T8" fmla="*/ 6 w 118"/>
                  <a:gd name="T9" fmla="*/ 267 h 330"/>
                  <a:gd name="T10" fmla="*/ 6 w 118"/>
                  <a:gd name="T11" fmla="*/ 267 h 330"/>
                  <a:gd name="T12" fmla="*/ 5 w 118"/>
                  <a:gd name="T13" fmla="*/ 267 h 330"/>
                  <a:gd name="T14" fmla="*/ 0 w 118"/>
                  <a:gd name="T15" fmla="*/ 272 h 330"/>
                  <a:gd name="T16" fmla="*/ 0 w 118"/>
                  <a:gd name="T17" fmla="*/ 325 h 330"/>
                  <a:gd name="T18" fmla="*/ 5 w 118"/>
                  <a:gd name="T19" fmla="*/ 330 h 330"/>
                  <a:gd name="T20" fmla="*/ 6 w 118"/>
                  <a:gd name="T21" fmla="*/ 330 h 330"/>
                  <a:gd name="T22" fmla="*/ 7 w 118"/>
                  <a:gd name="T23" fmla="*/ 330 h 330"/>
                  <a:gd name="T24" fmla="*/ 118 w 118"/>
                  <a:gd name="T25" fmla="*/ 205 h 330"/>
                  <a:gd name="T26" fmla="*/ 118 w 118"/>
                  <a:gd name="T27" fmla="*/ 5 h 330"/>
                  <a:gd name="T28" fmla="*/ 113 w 118"/>
                  <a:gd name="T2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330">
                    <a:moveTo>
                      <a:pt x="113" y="0"/>
                    </a:moveTo>
                    <a:cubicBezTo>
                      <a:pt x="53" y="0"/>
                      <a:pt x="53" y="0"/>
                      <a:pt x="53" y="0"/>
                    </a:cubicBezTo>
                    <a:cubicBezTo>
                      <a:pt x="50" y="0"/>
                      <a:pt x="48" y="2"/>
                      <a:pt x="48" y="5"/>
                    </a:cubicBezTo>
                    <a:cubicBezTo>
                      <a:pt x="48" y="207"/>
                      <a:pt x="48" y="207"/>
                      <a:pt x="48" y="207"/>
                    </a:cubicBezTo>
                    <a:cubicBezTo>
                      <a:pt x="48" y="242"/>
                      <a:pt x="33" y="263"/>
                      <a:pt x="6" y="267"/>
                    </a:cubicBezTo>
                    <a:cubicBezTo>
                      <a:pt x="6" y="267"/>
                      <a:pt x="6" y="267"/>
                      <a:pt x="6" y="267"/>
                    </a:cubicBezTo>
                    <a:cubicBezTo>
                      <a:pt x="5" y="267"/>
                      <a:pt x="5" y="267"/>
                      <a:pt x="5" y="267"/>
                    </a:cubicBezTo>
                    <a:cubicBezTo>
                      <a:pt x="3" y="267"/>
                      <a:pt x="0" y="270"/>
                      <a:pt x="0" y="272"/>
                    </a:cubicBezTo>
                    <a:cubicBezTo>
                      <a:pt x="0" y="325"/>
                      <a:pt x="0" y="325"/>
                      <a:pt x="0" y="325"/>
                    </a:cubicBezTo>
                    <a:cubicBezTo>
                      <a:pt x="0" y="327"/>
                      <a:pt x="3" y="330"/>
                      <a:pt x="5" y="330"/>
                    </a:cubicBezTo>
                    <a:cubicBezTo>
                      <a:pt x="6" y="330"/>
                      <a:pt x="6" y="330"/>
                      <a:pt x="6" y="330"/>
                    </a:cubicBezTo>
                    <a:cubicBezTo>
                      <a:pt x="7" y="330"/>
                      <a:pt x="7" y="330"/>
                      <a:pt x="7" y="330"/>
                    </a:cubicBezTo>
                    <a:cubicBezTo>
                      <a:pt x="74" y="326"/>
                      <a:pt x="118" y="282"/>
                      <a:pt x="118" y="205"/>
                    </a:cubicBezTo>
                    <a:cubicBezTo>
                      <a:pt x="118" y="5"/>
                      <a:pt x="118" y="5"/>
                      <a:pt x="118" y="5"/>
                    </a:cubicBezTo>
                    <a:cubicBezTo>
                      <a:pt x="118" y="2"/>
                      <a:pt x="116" y="0"/>
                      <a:pt x="11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54">
                  <a:defRPr/>
                </a:pPr>
                <a:endParaRPr lang="pt-BR" sz="1185">
                  <a:solidFill>
                    <a:prstClr val="black"/>
                  </a:solidFill>
                  <a:latin typeface="Arial" panose="020B0604020202020204"/>
                </a:endParaRPr>
              </a:p>
            </p:txBody>
          </p:sp>
          <p:sp>
            <p:nvSpPr>
              <p:cNvPr id="17" name="Freeform 10">
                <a:extLst>
                  <a:ext uri="{FF2B5EF4-FFF2-40B4-BE49-F238E27FC236}">
                    <a16:creationId xmlns:a16="http://schemas.microsoft.com/office/drawing/2014/main" id="{3EF2BE08-2817-C229-BED8-F95BB17B3CB7}"/>
                  </a:ext>
                </a:extLst>
              </p:cNvPr>
              <p:cNvSpPr>
                <a:spLocks/>
              </p:cNvSpPr>
              <p:nvPr/>
            </p:nvSpPr>
            <p:spPr bwMode="auto">
              <a:xfrm>
                <a:off x="3383756" y="2295358"/>
                <a:ext cx="144066" cy="209550"/>
              </a:xfrm>
              <a:custGeom>
                <a:avLst/>
                <a:gdLst>
                  <a:gd name="T0" fmla="*/ 0 w 70"/>
                  <a:gd name="T1" fmla="*/ 5 h 102"/>
                  <a:gd name="T2" fmla="*/ 0 w 70"/>
                  <a:gd name="T3" fmla="*/ 97 h 102"/>
                  <a:gd name="T4" fmla="*/ 6 w 70"/>
                  <a:gd name="T5" fmla="*/ 102 h 102"/>
                  <a:gd name="T6" fmla="*/ 65 w 70"/>
                  <a:gd name="T7" fmla="*/ 102 h 102"/>
                  <a:gd name="T8" fmla="*/ 70 w 70"/>
                  <a:gd name="T9" fmla="*/ 97 h 102"/>
                  <a:gd name="T10" fmla="*/ 70 w 70"/>
                  <a:gd name="T11" fmla="*/ 5 h 102"/>
                  <a:gd name="T12" fmla="*/ 65 w 70"/>
                  <a:gd name="T13" fmla="*/ 0 h 102"/>
                  <a:gd name="T14" fmla="*/ 6 w 70"/>
                  <a:gd name="T15" fmla="*/ 0 h 102"/>
                  <a:gd name="T16" fmla="*/ 0 w 70"/>
                  <a:gd name="T17" fmla="*/ 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2">
                    <a:moveTo>
                      <a:pt x="0" y="5"/>
                    </a:moveTo>
                    <a:cubicBezTo>
                      <a:pt x="0" y="97"/>
                      <a:pt x="0" y="97"/>
                      <a:pt x="0" y="97"/>
                    </a:cubicBezTo>
                    <a:cubicBezTo>
                      <a:pt x="0" y="100"/>
                      <a:pt x="3" y="102"/>
                      <a:pt x="6" y="102"/>
                    </a:cubicBezTo>
                    <a:cubicBezTo>
                      <a:pt x="65" y="102"/>
                      <a:pt x="65" y="102"/>
                      <a:pt x="65" y="102"/>
                    </a:cubicBezTo>
                    <a:cubicBezTo>
                      <a:pt x="68" y="102"/>
                      <a:pt x="70" y="100"/>
                      <a:pt x="70" y="97"/>
                    </a:cubicBezTo>
                    <a:cubicBezTo>
                      <a:pt x="70" y="5"/>
                      <a:pt x="70" y="5"/>
                      <a:pt x="70" y="5"/>
                    </a:cubicBezTo>
                    <a:cubicBezTo>
                      <a:pt x="70" y="2"/>
                      <a:pt x="68" y="0"/>
                      <a:pt x="65" y="0"/>
                    </a:cubicBezTo>
                    <a:cubicBezTo>
                      <a:pt x="6" y="0"/>
                      <a:pt x="6" y="0"/>
                      <a:pt x="6" y="0"/>
                    </a:cubicBezTo>
                    <a:cubicBezTo>
                      <a:pt x="3" y="0"/>
                      <a:pt x="0" y="2"/>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54">
                  <a:defRPr/>
                </a:pPr>
                <a:endParaRPr lang="pt-BR" sz="1185">
                  <a:solidFill>
                    <a:prstClr val="black"/>
                  </a:solidFill>
                  <a:latin typeface="Arial" panose="020B0604020202020204"/>
                </a:endParaRPr>
              </a:p>
            </p:txBody>
          </p:sp>
          <p:sp>
            <p:nvSpPr>
              <p:cNvPr id="18" name="Freeform 11">
                <a:extLst>
                  <a:ext uri="{FF2B5EF4-FFF2-40B4-BE49-F238E27FC236}">
                    <a16:creationId xmlns:a16="http://schemas.microsoft.com/office/drawing/2014/main" id="{81DB4A0E-2C81-00E7-57FB-0B4B4369F844}"/>
                  </a:ext>
                </a:extLst>
              </p:cNvPr>
              <p:cNvSpPr>
                <a:spLocks/>
              </p:cNvSpPr>
              <p:nvPr/>
            </p:nvSpPr>
            <p:spPr bwMode="auto">
              <a:xfrm>
                <a:off x="3383756" y="2750178"/>
                <a:ext cx="144066" cy="211931"/>
              </a:xfrm>
              <a:custGeom>
                <a:avLst/>
                <a:gdLst>
                  <a:gd name="T0" fmla="*/ 0 w 70"/>
                  <a:gd name="T1" fmla="*/ 5 h 103"/>
                  <a:gd name="T2" fmla="*/ 0 w 70"/>
                  <a:gd name="T3" fmla="*/ 98 h 103"/>
                  <a:gd name="T4" fmla="*/ 6 w 70"/>
                  <a:gd name="T5" fmla="*/ 103 h 103"/>
                  <a:gd name="T6" fmla="*/ 65 w 70"/>
                  <a:gd name="T7" fmla="*/ 103 h 103"/>
                  <a:gd name="T8" fmla="*/ 70 w 70"/>
                  <a:gd name="T9" fmla="*/ 98 h 103"/>
                  <a:gd name="T10" fmla="*/ 70 w 70"/>
                  <a:gd name="T11" fmla="*/ 5 h 103"/>
                  <a:gd name="T12" fmla="*/ 65 w 70"/>
                  <a:gd name="T13" fmla="*/ 0 h 103"/>
                  <a:gd name="T14" fmla="*/ 6 w 70"/>
                  <a:gd name="T15" fmla="*/ 0 h 103"/>
                  <a:gd name="T16" fmla="*/ 0 w 70"/>
                  <a:gd name="T17" fmla="*/ 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03">
                    <a:moveTo>
                      <a:pt x="0" y="5"/>
                    </a:moveTo>
                    <a:cubicBezTo>
                      <a:pt x="0" y="98"/>
                      <a:pt x="0" y="98"/>
                      <a:pt x="0" y="98"/>
                    </a:cubicBezTo>
                    <a:cubicBezTo>
                      <a:pt x="0" y="101"/>
                      <a:pt x="3" y="103"/>
                      <a:pt x="6" y="103"/>
                    </a:cubicBezTo>
                    <a:cubicBezTo>
                      <a:pt x="65" y="103"/>
                      <a:pt x="65" y="103"/>
                      <a:pt x="65" y="103"/>
                    </a:cubicBezTo>
                    <a:cubicBezTo>
                      <a:pt x="68" y="103"/>
                      <a:pt x="70" y="101"/>
                      <a:pt x="70" y="98"/>
                    </a:cubicBezTo>
                    <a:cubicBezTo>
                      <a:pt x="70" y="5"/>
                      <a:pt x="70" y="5"/>
                      <a:pt x="70" y="5"/>
                    </a:cubicBezTo>
                    <a:cubicBezTo>
                      <a:pt x="70" y="3"/>
                      <a:pt x="68" y="0"/>
                      <a:pt x="65" y="0"/>
                    </a:cubicBezTo>
                    <a:cubicBezTo>
                      <a:pt x="6" y="0"/>
                      <a:pt x="6" y="0"/>
                      <a:pt x="6" y="0"/>
                    </a:cubicBezTo>
                    <a:cubicBezTo>
                      <a:pt x="3" y="0"/>
                      <a:pt x="0" y="3"/>
                      <a:pt x="0"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34654">
                  <a:defRPr/>
                </a:pPr>
                <a:endParaRPr lang="pt-BR" sz="1185">
                  <a:solidFill>
                    <a:prstClr val="black"/>
                  </a:solidFill>
                  <a:latin typeface="Arial" panose="020B0604020202020204"/>
                </a:endParaRPr>
              </a:p>
            </p:txBody>
          </p:sp>
          <p:pic>
            <p:nvPicPr>
              <p:cNvPr id="19" name="Picture 18">
                <a:extLst>
                  <a:ext uri="{FF2B5EF4-FFF2-40B4-BE49-F238E27FC236}">
                    <a16:creationId xmlns:a16="http://schemas.microsoft.com/office/drawing/2014/main" id="{9F198CEF-8F3F-7D42-509F-9004044AEBD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73276"/>
              <a:stretch/>
            </p:blipFill>
            <p:spPr>
              <a:xfrm>
                <a:off x="3760979" y="2292518"/>
                <a:ext cx="138075" cy="667570"/>
              </a:xfrm>
              <a:prstGeom prst="rect">
                <a:avLst/>
              </a:prstGeom>
            </p:spPr>
          </p:pic>
          <p:pic>
            <p:nvPicPr>
              <p:cNvPr id="20" name="Picture 19">
                <a:extLst>
                  <a:ext uri="{FF2B5EF4-FFF2-40B4-BE49-F238E27FC236}">
                    <a16:creationId xmlns:a16="http://schemas.microsoft.com/office/drawing/2014/main" id="{F7D8122E-5578-0742-A106-D932466034B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969" t="37739" r="27569" b="36742"/>
              <a:stretch/>
            </p:blipFill>
            <p:spPr>
              <a:xfrm>
                <a:off x="3370030" y="2544450"/>
                <a:ext cx="390950" cy="170358"/>
              </a:xfrm>
              <a:prstGeom prst="rect">
                <a:avLst/>
              </a:prstGeom>
            </p:spPr>
          </p:pic>
          <p:pic>
            <p:nvPicPr>
              <p:cNvPr id="21" name="Picture 20">
                <a:extLst>
                  <a:ext uri="{FF2B5EF4-FFF2-40B4-BE49-F238E27FC236}">
                    <a16:creationId xmlns:a16="http://schemas.microsoft.com/office/drawing/2014/main" id="{1871EF5A-F643-4DEC-B467-A945F85C24A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21516" r="70766"/>
              <a:stretch/>
            </p:blipFill>
            <p:spPr>
              <a:xfrm>
                <a:off x="4769823" y="2439785"/>
                <a:ext cx="144365" cy="523938"/>
              </a:xfrm>
              <a:prstGeom prst="rect">
                <a:avLst/>
              </a:prstGeom>
            </p:spPr>
          </p:pic>
          <p:pic>
            <p:nvPicPr>
              <p:cNvPr id="22" name="Picture 21">
                <a:extLst>
                  <a:ext uri="{FF2B5EF4-FFF2-40B4-BE49-F238E27FC236}">
                    <a16:creationId xmlns:a16="http://schemas.microsoft.com/office/drawing/2014/main" id="{F23B582E-14A9-1904-97FC-4946C6A8CA0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741548" y="2260711"/>
                <a:ext cx="530398" cy="704149"/>
              </a:xfrm>
              <a:prstGeom prst="rect">
                <a:avLst/>
              </a:prstGeom>
            </p:spPr>
          </p:pic>
        </p:grpSp>
      </p:grpSp>
      <p:sp>
        <p:nvSpPr>
          <p:cNvPr id="9" name="Footer Placeholder 8">
            <a:extLst>
              <a:ext uri="{FF2B5EF4-FFF2-40B4-BE49-F238E27FC236}">
                <a16:creationId xmlns:a16="http://schemas.microsoft.com/office/drawing/2014/main" id="{5EC7828C-DA55-6CAA-9D04-419196B2CFE3}"/>
              </a:ext>
            </a:extLst>
          </p:cNvPr>
          <p:cNvSpPr>
            <a:spLocks noGrp="1"/>
          </p:cNvSpPr>
          <p:nvPr>
            <p:ph type="ftr" sz="quarter" idx="3"/>
          </p:nvPr>
        </p:nvSpPr>
        <p:spPr>
          <a:xfrm>
            <a:off x="1366474" y="7134819"/>
            <a:ext cx="8146178" cy="200376"/>
          </a:xfrm>
          <a:prstGeom prst="rect">
            <a:avLst/>
          </a:prstGeom>
        </p:spPr>
        <p:txBody>
          <a:bodyPr vert="horz" wrap="square" lIns="91440" tIns="45720" rIns="91440" bIns="45720" rtlCol="0" anchor="ctr">
            <a:spAutoFit/>
          </a:bodyPr>
          <a:lstStyle>
            <a:lvl1pPr algn="l">
              <a:defRPr sz="702">
                <a:solidFill>
                  <a:schemeClr val="bg1"/>
                </a:solidFill>
              </a:defRPr>
            </a:lvl1pPr>
          </a:lstStyle>
          <a:p>
            <a:endParaRPr lang="en-AU"/>
          </a:p>
        </p:txBody>
      </p:sp>
      <p:sp>
        <p:nvSpPr>
          <p:cNvPr id="10" name="Slide Number Placeholder 9">
            <a:extLst>
              <a:ext uri="{FF2B5EF4-FFF2-40B4-BE49-F238E27FC236}">
                <a16:creationId xmlns:a16="http://schemas.microsoft.com/office/drawing/2014/main" id="{39CB6DC1-DBEA-727F-4EBD-5F621E135F3B}"/>
              </a:ext>
            </a:extLst>
          </p:cNvPr>
          <p:cNvSpPr>
            <a:spLocks noGrp="1"/>
          </p:cNvSpPr>
          <p:nvPr>
            <p:ph type="sldNum" sz="quarter" idx="4"/>
          </p:nvPr>
        </p:nvSpPr>
        <p:spPr>
          <a:xfrm>
            <a:off x="9628823" y="7134819"/>
            <a:ext cx="431049" cy="200376"/>
          </a:xfrm>
          <a:prstGeom prst="rect">
            <a:avLst/>
          </a:prstGeom>
        </p:spPr>
        <p:txBody>
          <a:bodyPr vert="horz" wrap="square" lIns="91440" tIns="45720" rIns="91440" bIns="45720" rtlCol="0" anchor="ctr">
            <a:spAutoFit/>
          </a:bodyPr>
          <a:lstStyle>
            <a:lvl1pPr algn="r">
              <a:defRPr sz="702">
                <a:solidFill>
                  <a:schemeClr val="bg1"/>
                </a:solidFill>
              </a:defRPr>
            </a:lvl1pPr>
          </a:lstStyle>
          <a:p>
            <a:fld id="{EC9A8BF0-619C-46EB-8A11-AB98A6FA5FC8}" type="slidenum">
              <a:rPr lang="en-AU" smtClean="0"/>
              <a:pPr/>
              <a:t>‹#›</a:t>
            </a:fld>
            <a:endParaRPr lang="en-AU"/>
          </a:p>
        </p:txBody>
      </p:sp>
    </p:spTree>
    <p:extLst>
      <p:ext uri="{BB962C8B-B14F-4D97-AF65-F5344CB8AC3E}">
        <p14:creationId xmlns:p14="http://schemas.microsoft.com/office/powerpoint/2010/main" val="3165350523"/>
      </p:ext>
    </p:extLst>
  </p:cSld>
  <p:clrMap bg1="lt1" tx1="dk1" bg2="lt2" tx2="dk2" accent1="accent1" accent2="accent2" accent3="accent3" accent4="accent4" accent5="accent5" accent6="accent6" hlink="hlink" folHlink="folHlink"/>
  <p:sldLayoutIdLst>
    <p:sldLayoutId id="2147483769" r:id="rId1"/>
    <p:sldLayoutId id="2147483705" r:id="rId2"/>
    <p:sldLayoutId id="2147483704"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802020" rtl="0" eaLnBrk="1" latinLnBrk="0" hangingPunct="1">
        <a:lnSpc>
          <a:spcPct val="90000"/>
        </a:lnSpc>
        <a:spcBef>
          <a:spcPct val="0"/>
        </a:spcBef>
        <a:buNone/>
        <a:defRPr sz="2456" b="0" kern="1200" spc="0" baseline="0">
          <a:solidFill>
            <a:schemeClr val="bg1"/>
          </a:solidFill>
          <a:latin typeface="+mj-lt"/>
          <a:ea typeface="+mj-ea"/>
          <a:cs typeface="+mj-cs"/>
        </a:defRPr>
      </a:lvl1pPr>
    </p:titleStyle>
    <p:bodyStyle>
      <a:lvl1pPr marL="200505" indent="-200505" algn="l" defTabSz="802020" rtl="0" eaLnBrk="1" latinLnBrk="0" hangingPunct="1">
        <a:lnSpc>
          <a:spcPct val="90000"/>
        </a:lnSpc>
        <a:spcBef>
          <a:spcPts val="877"/>
        </a:spcBef>
        <a:buFont typeface="Arial" panose="020B0604020202020204" pitchFamily="34" charset="0"/>
        <a:buChar char="•"/>
        <a:defRPr sz="1403" kern="1200">
          <a:solidFill>
            <a:schemeClr val="bg1"/>
          </a:solidFill>
          <a:latin typeface="+mn-lt"/>
          <a:ea typeface="+mn-ea"/>
          <a:cs typeface="+mn-cs"/>
        </a:defRPr>
      </a:lvl1pPr>
      <a:lvl2pPr marL="601515" indent="-200505" algn="l" defTabSz="802020" rtl="0" eaLnBrk="1" latinLnBrk="0" hangingPunct="1">
        <a:lnSpc>
          <a:spcPct val="90000"/>
        </a:lnSpc>
        <a:spcBef>
          <a:spcPts val="439"/>
        </a:spcBef>
        <a:buFont typeface="Arial" panose="020B0604020202020204" pitchFamily="34" charset="0"/>
        <a:buChar char="•"/>
        <a:defRPr sz="1228" kern="1200">
          <a:solidFill>
            <a:schemeClr val="bg1"/>
          </a:solidFill>
          <a:latin typeface="+mn-lt"/>
          <a:ea typeface="+mn-ea"/>
          <a:cs typeface="+mn-cs"/>
        </a:defRPr>
      </a:lvl2pPr>
      <a:lvl3pPr marL="1002525" indent="-200505" algn="l" defTabSz="802020" rtl="0" eaLnBrk="1" latinLnBrk="0" hangingPunct="1">
        <a:lnSpc>
          <a:spcPct val="90000"/>
        </a:lnSpc>
        <a:spcBef>
          <a:spcPts val="439"/>
        </a:spcBef>
        <a:buFont typeface="Arial" panose="020B0604020202020204" pitchFamily="34" charset="0"/>
        <a:buChar char="•"/>
        <a:defRPr sz="1053" kern="1200">
          <a:solidFill>
            <a:schemeClr val="bg1"/>
          </a:solidFill>
          <a:latin typeface="+mn-lt"/>
          <a:ea typeface="+mn-ea"/>
          <a:cs typeface="+mn-cs"/>
        </a:defRPr>
      </a:lvl3pPr>
      <a:lvl4pPr marL="1403535" indent="-200505" algn="l" defTabSz="802020" rtl="0" eaLnBrk="1" latinLnBrk="0" hangingPunct="1">
        <a:lnSpc>
          <a:spcPct val="90000"/>
        </a:lnSpc>
        <a:spcBef>
          <a:spcPts val="439"/>
        </a:spcBef>
        <a:buFont typeface="Arial" panose="020B0604020202020204" pitchFamily="34" charset="0"/>
        <a:buChar char="•"/>
        <a:defRPr sz="965" kern="1200">
          <a:solidFill>
            <a:schemeClr val="bg1"/>
          </a:solidFill>
          <a:latin typeface="+mn-lt"/>
          <a:ea typeface="+mn-ea"/>
          <a:cs typeface="+mn-cs"/>
        </a:defRPr>
      </a:lvl4pPr>
      <a:lvl5pPr marL="1804546" indent="-200505" algn="l" defTabSz="802020" rtl="0" eaLnBrk="1" latinLnBrk="0" hangingPunct="1">
        <a:lnSpc>
          <a:spcPct val="90000"/>
        </a:lnSpc>
        <a:spcBef>
          <a:spcPts val="439"/>
        </a:spcBef>
        <a:buFont typeface="Arial" panose="020B0604020202020204" pitchFamily="34" charset="0"/>
        <a:buChar char="•"/>
        <a:defRPr sz="965" kern="1200">
          <a:solidFill>
            <a:schemeClr val="bg1"/>
          </a:solidFill>
          <a:latin typeface="+mn-lt"/>
          <a:ea typeface="+mn-ea"/>
          <a:cs typeface="+mn-cs"/>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4">
          <p15:clr>
            <a:srgbClr val="F26B43"/>
          </p15:clr>
        </p15:guide>
        <p15:guide id="2" pos="7225">
          <p15:clr>
            <a:srgbClr val="F26B43"/>
          </p15:clr>
        </p15:guide>
        <p15:guide id="3" orient="horz" pos="294">
          <p15:clr>
            <a:srgbClr val="F26B43"/>
          </p15:clr>
        </p15:guide>
        <p15:guide id="4" orient="horz" pos="39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notesSlide" Target="../notesSlides/notesSlide5.xml"/><Relationship Id="rId16" Type="http://schemas.openxmlformats.org/officeDocument/2006/relationships/image" Target="../media/image41.svg"/><Relationship Id="rId1" Type="http://schemas.openxmlformats.org/officeDocument/2006/relationships/slideLayout" Target="../slideLayouts/slideLayout24.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13.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sv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24.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png"/></Relationships>
</file>

<file path=ppt/slides/_rels/slide14.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44.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sv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 Id="rId14" Type="http://schemas.openxmlformats.org/officeDocument/2006/relationships/image" Target="../media/image61.svg"/></Relationships>
</file>

<file path=ppt/slides/_rels/slide1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svg"/><Relationship Id="rId18" Type="http://schemas.openxmlformats.org/officeDocument/2006/relationships/image" Target="../media/image77.png"/><Relationship Id="rId3" Type="http://schemas.openxmlformats.org/officeDocument/2006/relationships/image" Target="../media/image62.png"/><Relationship Id="rId21" Type="http://schemas.openxmlformats.org/officeDocument/2006/relationships/image" Target="../media/image80.svg"/><Relationship Id="rId7" Type="http://schemas.openxmlformats.org/officeDocument/2006/relationships/image" Target="../media/image66.svg"/><Relationship Id="rId12" Type="http://schemas.openxmlformats.org/officeDocument/2006/relationships/image" Target="../media/image71.png"/><Relationship Id="rId17" Type="http://schemas.openxmlformats.org/officeDocument/2006/relationships/image" Target="../media/image76.svg"/><Relationship Id="rId2" Type="http://schemas.openxmlformats.org/officeDocument/2006/relationships/notesSlide" Target="../notesSlides/notesSlide7.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24.xml"/><Relationship Id="rId6" Type="http://schemas.openxmlformats.org/officeDocument/2006/relationships/image" Target="../media/image65.png"/><Relationship Id="rId11" Type="http://schemas.openxmlformats.org/officeDocument/2006/relationships/image" Target="../media/image70.svg"/><Relationship Id="rId5" Type="http://schemas.openxmlformats.org/officeDocument/2006/relationships/image" Target="../media/image64.svg"/><Relationship Id="rId15" Type="http://schemas.openxmlformats.org/officeDocument/2006/relationships/image" Target="../media/image74.svg"/><Relationship Id="rId10" Type="http://schemas.openxmlformats.org/officeDocument/2006/relationships/image" Target="../media/image69.png"/><Relationship Id="rId19" Type="http://schemas.openxmlformats.org/officeDocument/2006/relationships/image" Target="../media/image78.svg"/><Relationship Id="rId4" Type="http://schemas.openxmlformats.org/officeDocument/2006/relationships/image" Target="../media/image63.png"/><Relationship Id="rId9" Type="http://schemas.openxmlformats.org/officeDocument/2006/relationships/image" Target="../media/image68.svg"/><Relationship Id="rId14" Type="http://schemas.openxmlformats.org/officeDocument/2006/relationships/image" Target="../media/image73.png"/></Relationships>
</file>

<file path=ppt/slides/_rels/slide16.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89.jpeg"/><Relationship Id="rId10" Type="http://schemas.openxmlformats.org/officeDocument/2006/relationships/image" Target="../media/image86.svg"/><Relationship Id="rId4" Type="http://schemas.openxmlformats.org/officeDocument/2006/relationships/image" Target="../media/image45.svg"/><Relationship Id="rId9" Type="http://schemas.openxmlformats.org/officeDocument/2006/relationships/image" Target="../media/image85.png"/><Relationship Id="rId14" Type="http://schemas.openxmlformats.org/officeDocument/2006/relationships/image" Target="../media/image50.svg"/></Relationships>
</file>

<file path=ppt/slides/_rels/slide1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image" Target="../media/image10.png"/><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image" Target="../media/image9.png"/><Relationship Id="rId1" Type="http://schemas.openxmlformats.org/officeDocument/2006/relationships/slideLayout" Target="../slideLayouts/slideLayout25.xml"/><Relationship Id="rId6" Type="http://schemas.openxmlformats.org/officeDocument/2006/relationships/image" Target="../media/image13.png"/><Relationship Id="rId11" Type="http://schemas.openxmlformats.org/officeDocument/2006/relationships/image" Target="../media/image96.png"/><Relationship Id="rId5" Type="http://schemas.openxmlformats.org/officeDocument/2006/relationships/image" Target="../media/image12.png"/><Relationship Id="rId10" Type="http://schemas.openxmlformats.org/officeDocument/2006/relationships/image" Target="../media/image95.png"/><Relationship Id="rId4" Type="http://schemas.openxmlformats.org/officeDocument/2006/relationships/image" Target="../media/image11.png"/><Relationship Id="rId9" Type="http://schemas.openxmlformats.org/officeDocument/2006/relationships/image" Target="../media/image94.png"/><Relationship Id="rId14" Type="http://schemas.openxmlformats.org/officeDocument/2006/relationships/image" Target="../media/image99.png"/></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7.svg"/><Relationship Id="rId18" Type="http://schemas.openxmlformats.org/officeDocument/2006/relationships/image" Target="../media/image112.png"/><Relationship Id="rId3" Type="http://schemas.openxmlformats.org/officeDocument/2006/relationships/image" Target="../media/image100.png"/><Relationship Id="rId21" Type="http://schemas.openxmlformats.org/officeDocument/2006/relationships/image" Target="../media/image114.svg"/><Relationship Id="rId7" Type="http://schemas.microsoft.com/office/2007/relationships/hdphoto" Target="../media/hdphoto2.wdp"/><Relationship Id="rId12" Type="http://schemas.openxmlformats.org/officeDocument/2006/relationships/image" Target="../media/image106.png"/><Relationship Id="rId17" Type="http://schemas.openxmlformats.org/officeDocument/2006/relationships/image" Target="../media/image111.svg"/><Relationship Id="rId2" Type="http://schemas.openxmlformats.org/officeDocument/2006/relationships/notesSlide" Target="../notesSlides/notesSlide9.xml"/><Relationship Id="rId16" Type="http://schemas.openxmlformats.org/officeDocument/2006/relationships/image" Target="../media/image110.png"/><Relationship Id="rId20" Type="http://schemas.openxmlformats.org/officeDocument/2006/relationships/image" Target="../media/image113.png"/><Relationship Id="rId1" Type="http://schemas.openxmlformats.org/officeDocument/2006/relationships/slideLayout" Target="../slideLayouts/slideLayout23.xml"/><Relationship Id="rId6" Type="http://schemas.openxmlformats.org/officeDocument/2006/relationships/image" Target="../media/image102.png"/><Relationship Id="rId11" Type="http://schemas.openxmlformats.org/officeDocument/2006/relationships/image" Target="../media/image105.svg"/><Relationship Id="rId5" Type="http://schemas.microsoft.com/office/2007/relationships/hdphoto" Target="../media/hdphoto1.wdp"/><Relationship Id="rId15" Type="http://schemas.openxmlformats.org/officeDocument/2006/relationships/image" Target="../media/image109.svg"/><Relationship Id="rId10" Type="http://schemas.openxmlformats.org/officeDocument/2006/relationships/image" Target="../media/image104.png"/><Relationship Id="rId19" Type="http://schemas.microsoft.com/office/2007/relationships/hdphoto" Target="../media/hdphoto4.wdp"/><Relationship Id="rId4" Type="http://schemas.openxmlformats.org/officeDocument/2006/relationships/image" Target="../media/image101.png"/><Relationship Id="rId9" Type="http://schemas.microsoft.com/office/2007/relationships/hdphoto" Target="../media/hdphoto3.wdp"/><Relationship Id="rId14" Type="http://schemas.openxmlformats.org/officeDocument/2006/relationships/image" Target="../media/image108.png"/></Relationships>
</file>

<file path=ppt/slides/_rels/slide21.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svg"/><Relationship Id="rId3" Type="http://schemas.openxmlformats.org/officeDocument/2006/relationships/image" Target="../media/image116.png"/><Relationship Id="rId21" Type="http://schemas.openxmlformats.org/officeDocument/2006/relationships/image" Target="../media/image134.png"/><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 Type="http://schemas.openxmlformats.org/officeDocument/2006/relationships/image" Target="../media/image115.png"/><Relationship Id="rId16" Type="http://schemas.openxmlformats.org/officeDocument/2006/relationships/image" Target="../media/image129.svg"/><Relationship Id="rId20" Type="http://schemas.openxmlformats.org/officeDocument/2006/relationships/image" Target="../media/image133.svg"/><Relationship Id="rId1" Type="http://schemas.openxmlformats.org/officeDocument/2006/relationships/slideLayout" Target="../slideLayouts/slideLayout22.xml"/><Relationship Id="rId6" Type="http://schemas.openxmlformats.org/officeDocument/2006/relationships/image" Target="../media/image119.svg"/><Relationship Id="rId11" Type="http://schemas.openxmlformats.org/officeDocument/2006/relationships/image" Target="../media/image124.png"/><Relationship Id="rId5" Type="http://schemas.openxmlformats.org/officeDocument/2006/relationships/image" Target="../media/image118.png"/><Relationship Id="rId15" Type="http://schemas.openxmlformats.org/officeDocument/2006/relationships/image" Target="../media/image128.png"/><Relationship Id="rId10" Type="http://schemas.openxmlformats.org/officeDocument/2006/relationships/image" Target="../media/image123.png"/><Relationship Id="rId19" Type="http://schemas.openxmlformats.org/officeDocument/2006/relationships/image" Target="../media/image132.png"/><Relationship Id="rId4" Type="http://schemas.openxmlformats.org/officeDocument/2006/relationships/image" Target="../media/image117.svg"/><Relationship Id="rId9" Type="http://schemas.openxmlformats.org/officeDocument/2006/relationships/image" Target="../media/image122.png"/><Relationship Id="rId14" Type="http://schemas.openxmlformats.org/officeDocument/2006/relationships/image" Target="../media/image127.svg"/><Relationship Id="rId22" Type="http://schemas.openxmlformats.org/officeDocument/2006/relationships/image" Target="../media/image135.svg"/></Relationships>
</file>

<file path=ppt/slides/_rels/slide2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60.png"/><Relationship Id="rId3" Type="http://schemas.openxmlformats.org/officeDocument/2006/relationships/image" Target="../media/image150.png"/><Relationship Id="rId7" Type="http://schemas.openxmlformats.org/officeDocument/2006/relationships/image" Target="../media/image154.png"/><Relationship Id="rId12" Type="http://schemas.openxmlformats.org/officeDocument/2006/relationships/image" Target="../media/image159.png"/><Relationship Id="rId17" Type="http://schemas.openxmlformats.org/officeDocument/2006/relationships/image" Target="../media/image164.png"/><Relationship Id="rId2" Type="http://schemas.openxmlformats.org/officeDocument/2006/relationships/image" Target="../media/image149.png"/><Relationship Id="rId16" Type="http://schemas.openxmlformats.org/officeDocument/2006/relationships/image" Target="../media/image163.png"/><Relationship Id="rId1" Type="http://schemas.openxmlformats.org/officeDocument/2006/relationships/slideLayout" Target="../slideLayouts/slideLayout4.xml"/><Relationship Id="rId6" Type="http://schemas.openxmlformats.org/officeDocument/2006/relationships/image" Target="../media/image153.png"/><Relationship Id="rId11" Type="http://schemas.openxmlformats.org/officeDocument/2006/relationships/image" Target="../media/image158.png"/><Relationship Id="rId5" Type="http://schemas.openxmlformats.org/officeDocument/2006/relationships/image" Target="../media/image152.png"/><Relationship Id="rId15" Type="http://schemas.openxmlformats.org/officeDocument/2006/relationships/image" Target="../media/image162.png"/><Relationship Id="rId10" Type="http://schemas.openxmlformats.org/officeDocument/2006/relationships/image" Target="../media/image157.png"/><Relationship Id="rId4" Type="http://schemas.openxmlformats.org/officeDocument/2006/relationships/image" Target="../media/image151.png"/><Relationship Id="rId9" Type="http://schemas.openxmlformats.org/officeDocument/2006/relationships/image" Target="../media/image156.png"/><Relationship Id="rId14" Type="http://schemas.openxmlformats.org/officeDocument/2006/relationships/image" Target="../media/image16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89.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0687685" cy="7553325"/>
          </a:xfrm>
          <a:custGeom>
            <a:avLst/>
            <a:gdLst/>
            <a:ahLst/>
            <a:cxnLst/>
            <a:rect l="l" t="t" r="r" b="b"/>
            <a:pathLst>
              <a:path w="10687685" h="7553325">
                <a:moveTo>
                  <a:pt x="0" y="0"/>
                </a:moveTo>
                <a:lnTo>
                  <a:pt x="10687594" y="0"/>
                </a:lnTo>
                <a:lnTo>
                  <a:pt x="10687594" y="7553325"/>
                </a:lnTo>
                <a:lnTo>
                  <a:pt x="0" y="7553325"/>
                </a:lnTo>
                <a:lnTo>
                  <a:pt x="0" y="0"/>
                </a:lnTo>
                <a:close/>
              </a:path>
            </a:pathLst>
          </a:custGeom>
          <a:solidFill>
            <a:srgbClr val="2E3740"/>
          </a:solidFill>
        </p:spPr>
        <p:txBody>
          <a:bodyPr wrap="square" lIns="0" tIns="0" rIns="0" bIns="0" rtlCol="0"/>
          <a:lstStyle/>
          <a:p>
            <a:endParaRPr/>
          </a:p>
        </p:txBody>
      </p:sp>
      <p:grpSp>
        <p:nvGrpSpPr>
          <p:cNvPr id="3" name="object 3"/>
          <p:cNvGrpSpPr/>
          <p:nvPr/>
        </p:nvGrpSpPr>
        <p:grpSpPr>
          <a:xfrm>
            <a:off x="-4762" y="0"/>
            <a:ext cx="10680065" cy="7552264"/>
            <a:chOff x="0" y="0"/>
            <a:chExt cx="10680065" cy="7552264"/>
          </a:xfrm>
        </p:grpSpPr>
        <p:pic>
          <p:nvPicPr>
            <p:cNvPr id="4" name="object 4"/>
            <p:cNvPicPr/>
            <p:nvPr/>
          </p:nvPicPr>
          <p:blipFill>
            <a:blip r:embed="rId2" cstate="print"/>
            <a:stretch>
              <a:fillRect/>
            </a:stretch>
          </p:blipFill>
          <p:spPr>
            <a:xfrm>
              <a:off x="0" y="0"/>
              <a:ext cx="3914774" cy="3905249"/>
            </a:xfrm>
            <a:prstGeom prst="rect">
              <a:avLst/>
            </a:prstGeom>
          </p:spPr>
        </p:pic>
        <p:pic>
          <p:nvPicPr>
            <p:cNvPr id="5" name="object 5"/>
            <p:cNvPicPr/>
            <p:nvPr/>
          </p:nvPicPr>
          <p:blipFill>
            <a:blip r:embed="rId3" cstate="print"/>
            <a:stretch>
              <a:fillRect/>
            </a:stretch>
          </p:blipFill>
          <p:spPr>
            <a:xfrm>
              <a:off x="0" y="3894665"/>
              <a:ext cx="5991224" cy="3657599"/>
            </a:xfrm>
            <a:prstGeom prst="rect">
              <a:avLst/>
            </a:prstGeom>
          </p:spPr>
        </p:pic>
        <p:pic>
          <p:nvPicPr>
            <p:cNvPr id="6" name="object 6"/>
            <p:cNvPicPr/>
            <p:nvPr/>
          </p:nvPicPr>
          <p:blipFill>
            <a:blip r:embed="rId4" cstate="print"/>
            <a:stretch>
              <a:fillRect/>
            </a:stretch>
          </p:blipFill>
          <p:spPr>
            <a:xfrm>
              <a:off x="3926598" y="17450"/>
              <a:ext cx="6743699" cy="3867149"/>
            </a:xfrm>
            <a:prstGeom prst="rect">
              <a:avLst/>
            </a:prstGeom>
          </p:spPr>
        </p:pic>
        <p:sp>
          <p:nvSpPr>
            <p:cNvPr id="7" name="object 7"/>
            <p:cNvSpPr/>
            <p:nvPr/>
          </p:nvSpPr>
          <p:spPr>
            <a:xfrm>
              <a:off x="0" y="355776"/>
              <a:ext cx="10680065" cy="6762115"/>
            </a:xfrm>
            <a:custGeom>
              <a:avLst/>
              <a:gdLst/>
              <a:ahLst/>
              <a:cxnLst/>
              <a:rect l="l" t="t" r="r" b="b"/>
              <a:pathLst>
                <a:path w="10680065" h="6762115">
                  <a:moveTo>
                    <a:pt x="0" y="2611600"/>
                  </a:moveTo>
                  <a:lnTo>
                    <a:pt x="1279909" y="2611600"/>
                  </a:lnTo>
                  <a:lnTo>
                    <a:pt x="1327828" y="2610838"/>
                  </a:lnTo>
                  <a:lnTo>
                    <a:pt x="1375270" y="2608458"/>
                  </a:lnTo>
                  <a:lnTo>
                    <a:pt x="1422332" y="2604554"/>
                  </a:lnTo>
                  <a:lnTo>
                    <a:pt x="1468917" y="2599127"/>
                  </a:lnTo>
                  <a:lnTo>
                    <a:pt x="1515025" y="2592176"/>
                  </a:lnTo>
                  <a:lnTo>
                    <a:pt x="1560658" y="2583797"/>
                  </a:lnTo>
                  <a:lnTo>
                    <a:pt x="1605814" y="2573990"/>
                  </a:lnTo>
                  <a:lnTo>
                    <a:pt x="1650398" y="2562755"/>
                  </a:lnTo>
                  <a:lnTo>
                    <a:pt x="1694411" y="2550092"/>
                  </a:lnTo>
                  <a:lnTo>
                    <a:pt x="1737852" y="2536096"/>
                  </a:lnTo>
                  <a:lnTo>
                    <a:pt x="1780627" y="2520767"/>
                  </a:lnTo>
                  <a:lnTo>
                    <a:pt x="1822734" y="2504104"/>
                  </a:lnTo>
                  <a:lnTo>
                    <a:pt x="1864175" y="2486204"/>
                  </a:lnTo>
                  <a:lnTo>
                    <a:pt x="1904949" y="2466971"/>
                  </a:lnTo>
                  <a:lnTo>
                    <a:pt x="1945056" y="2446501"/>
                  </a:lnTo>
                  <a:lnTo>
                    <a:pt x="1984401" y="2424792"/>
                  </a:lnTo>
                  <a:lnTo>
                    <a:pt x="2022983" y="2401941"/>
                  </a:lnTo>
                  <a:lnTo>
                    <a:pt x="2060709" y="2377947"/>
                  </a:lnTo>
                  <a:lnTo>
                    <a:pt x="2097672" y="2352811"/>
                  </a:lnTo>
                  <a:lnTo>
                    <a:pt x="2133778" y="2326532"/>
                  </a:lnTo>
                  <a:lnTo>
                    <a:pt x="2169026" y="2299111"/>
                  </a:lnTo>
                  <a:lnTo>
                    <a:pt x="2203322" y="2270642"/>
                  </a:lnTo>
                  <a:lnTo>
                    <a:pt x="2236760" y="2241126"/>
                  </a:lnTo>
                  <a:lnTo>
                    <a:pt x="2269246" y="2210658"/>
                  </a:lnTo>
                  <a:lnTo>
                    <a:pt x="2300779" y="2179142"/>
                  </a:lnTo>
                  <a:lnTo>
                    <a:pt x="2331264" y="2146674"/>
                  </a:lnTo>
                  <a:lnTo>
                    <a:pt x="2360796" y="2113255"/>
                  </a:lnTo>
                  <a:lnTo>
                    <a:pt x="2389281" y="2078883"/>
                  </a:lnTo>
                  <a:lnTo>
                    <a:pt x="2416622" y="2043654"/>
                  </a:lnTo>
                  <a:lnTo>
                    <a:pt x="2442915" y="2007568"/>
                  </a:lnTo>
                  <a:lnTo>
                    <a:pt x="2468066" y="1970625"/>
                  </a:lnTo>
                  <a:lnTo>
                    <a:pt x="2492073" y="1932826"/>
                  </a:lnTo>
                  <a:lnTo>
                    <a:pt x="2514936" y="1894265"/>
                  </a:lnTo>
                  <a:lnTo>
                    <a:pt x="2536562" y="1854941"/>
                  </a:lnTo>
                  <a:lnTo>
                    <a:pt x="2557044" y="1814857"/>
                  </a:lnTo>
                  <a:lnTo>
                    <a:pt x="2576287" y="1774105"/>
                  </a:lnTo>
                  <a:lnTo>
                    <a:pt x="2594197" y="1732592"/>
                  </a:lnTo>
                  <a:lnTo>
                    <a:pt x="2610869" y="1690413"/>
                  </a:lnTo>
                  <a:lnTo>
                    <a:pt x="2626207" y="1647567"/>
                  </a:lnTo>
                  <a:lnTo>
                    <a:pt x="2640211" y="1604150"/>
                  </a:lnTo>
                  <a:lnTo>
                    <a:pt x="2652786" y="1560162"/>
                  </a:lnTo>
                  <a:lnTo>
                    <a:pt x="2664027" y="1515602"/>
                  </a:lnTo>
                  <a:lnTo>
                    <a:pt x="2673840" y="1470471"/>
                  </a:lnTo>
                  <a:lnTo>
                    <a:pt x="2682223" y="1424769"/>
                  </a:lnTo>
                  <a:lnTo>
                    <a:pt x="2689082" y="1378590"/>
                  </a:lnTo>
                  <a:lnTo>
                    <a:pt x="2694512" y="1331936"/>
                  </a:lnTo>
                  <a:lnTo>
                    <a:pt x="2698418" y="1284901"/>
                  </a:lnTo>
                  <a:lnTo>
                    <a:pt x="2700800" y="1237389"/>
                  </a:lnTo>
                  <a:lnTo>
                    <a:pt x="2701562" y="1189497"/>
                  </a:lnTo>
                  <a:lnTo>
                    <a:pt x="2702515" y="1141700"/>
                  </a:lnTo>
                  <a:lnTo>
                    <a:pt x="2705278" y="1094379"/>
                  </a:lnTo>
                  <a:lnTo>
                    <a:pt x="2709946" y="1047534"/>
                  </a:lnTo>
                  <a:lnTo>
                    <a:pt x="2716424" y="1001261"/>
                  </a:lnTo>
                  <a:lnTo>
                    <a:pt x="2724616" y="955558"/>
                  </a:lnTo>
                  <a:lnTo>
                    <a:pt x="2734524" y="910427"/>
                  </a:lnTo>
                  <a:lnTo>
                    <a:pt x="2746146" y="865963"/>
                  </a:lnTo>
                  <a:lnTo>
                    <a:pt x="2759389" y="822260"/>
                  </a:lnTo>
                  <a:lnTo>
                    <a:pt x="2774250" y="779224"/>
                  </a:lnTo>
                  <a:lnTo>
                    <a:pt x="2790731" y="736949"/>
                  </a:lnTo>
                  <a:lnTo>
                    <a:pt x="2808736" y="695532"/>
                  </a:lnTo>
                  <a:lnTo>
                    <a:pt x="2828266" y="654876"/>
                  </a:lnTo>
                  <a:lnTo>
                    <a:pt x="2849224" y="615172"/>
                  </a:lnTo>
                  <a:lnTo>
                    <a:pt x="2871612" y="576325"/>
                  </a:lnTo>
                  <a:lnTo>
                    <a:pt x="2895429" y="538430"/>
                  </a:lnTo>
                  <a:lnTo>
                    <a:pt x="2920579" y="501487"/>
                  </a:lnTo>
                  <a:lnTo>
                    <a:pt x="2947063" y="465592"/>
                  </a:lnTo>
                  <a:lnTo>
                    <a:pt x="2974881" y="430744"/>
                  </a:lnTo>
                  <a:lnTo>
                    <a:pt x="3003937" y="396943"/>
                  </a:lnTo>
                  <a:lnTo>
                    <a:pt x="3034231" y="364285"/>
                  </a:lnTo>
                  <a:lnTo>
                    <a:pt x="3065764" y="332770"/>
                  </a:lnTo>
                  <a:lnTo>
                    <a:pt x="3098440" y="302492"/>
                  </a:lnTo>
                  <a:lnTo>
                    <a:pt x="3132164" y="273452"/>
                  </a:lnTo>
                  <a:lnTo>
                    <a:pt x="3167032" y="245650"/>
                  </a:lnTo>
                  <a:lnTo>
                    <a:pt x="3202947" y="219085"/>
                  </a:lnTo>
                  <a:lnTo>
                    <a:pt x="3239815" y="193854"/>
                  </a:lnTo>
                  <a:lnTo>
                    <a:pt x="3277731" y="170050"/>
                  </a:lnTo>
                  <a:lnTo>
                    <a:pt x="3316599" y="147580"/>
                  </a:lnTo>
                  <a:lnTo>
                    <a:pt x="3356325" y="126633"/>
                  </a:lnTo>
                  <a:lnTo>
                    <a:pt x="3396908" y="107115"/>
                  </a:lnTo>
                  <a:lnTo>
                    <a:pt x="3438349" y="89119"/>
                  </a:lnTo>
                  <a:lnTo>
                    <a:pt x="3480552" y="72647"/>
                  </a:lnTo>
                  <a:lnTo>
                    <a:pt x="3523326" y="57889"/>
                  </a:lnTo>
                  <a:lnTo>
                    <a:pt x="3567053" y="44654"/>
                  </a:lnTo>
                  <a:lnTo>
                    <a:pt x="3611447" y="33038"/>
                  </a:lnTo>
                  <a:lnTo>
                    <a:pt x="3656508" y="23136"/>
                  </a:lnTo>
                  <a:lnTo>
                    <a:pt x="3702236" y="14948"/>
                  </a:lnTo>
                  <a:lnTo>
                    <a:pt x="3748535" y="8473"/>
                  </a:lnTo>
                  <a:lnTo>
                    <a:pt x="3795406" y="3808"/>
                  </a:lnTo>
                  <a:lnTo>
                    <a:pt x="3842753" y="952"/>
                  </a:lnTo>
                  <a:lnTo>
                    <a:pt x="3890576" y="0"/>
                  </a:lnTo>
                  <a:lnTo>
                    <a:pt x="7400649" y="0"/>
                  </a:lnTo>
                  <a:lnTo>
                    <a:pt x="7448853" y="952"/>
                  </a:lnTo>
                  <a:lnTo>
                    <a:pt x="7496582" y="3618"/>
                  </a:lnTo>
                  <a:lnTo>
                    <a:pt x="7543834" y="8093"/>
                  </a:lnTo>
                  <a:lnTo>
                    <a:pt x="7590514" y="14281"/>
                  </a:lnTo>
                  <a:lnTo>
                    <a:pt x="7636623" y="22184"/>
                  </a:lnTo>
                  <a:lnTo>
                    <a:pt x="7682161" y="31705"/>
                  </a:lnTo>
                  <a:lnTo>
                    <a:pt x="7727126" y="42845"/>
                  </a:lnTo>
                  <a:lnTo>
                    <a:pt x="7771425" y="55604"/>
                  </a:lnTo>
                  <a:lnTo>
                    <a:pt x="7814962" y="69981"/>
                  </a:lnTo>
                  <a:lnTo>
                    <a:pt x="7857831" y="85882"/>
                  </a:lnTo>
                  <a:lnTo>
                    <a:pt x="7899939" y="103211"/>
                  </a:lnTo>
                  <a:lnTo>
                    <a:pt x="7941284" y="122063"/>
                  </a:lnTo>
                  <a:lnTo>
                    <a:pt x="7981772" y="142343"/>
                  </a:lnTo>
                  <a:lnTo>
                    <a:pt x="8021403" y="164052"/>
                  </a:lnTo>
                  <a:lnTo>
                    <a:pt x="8060176" y="187093"/>
                  </a:lnTo>
                  <a:lnTo>
                    <a:pt x="8098092" y="211468"/>
                  </a:lnTo>
                  <a:lnTo>
                    <a:pt x="8135055" y="237175"/>
                  </a:lnTo>
                  <a:lnTo>
                    <a:pt x="8170970" y="264121"/>
                  </a:lnTo>
                  <a:lnTo>
                    <a:pt x="8205933" y="292304"/>
                  </a:lnTo>
                  <a:lnTo>
                    <a:pt x="8239847" y="321725"/>
                  </a:lnTo>
                  <a:lnTo>
                    <a:pt x="8272619" y="352288"/>
                  </a:lnTo>
                  <a:lnTo>
                    <a:pt x="8304342" y="383994"/>
                  </a:lnTo>
                  <a:lnTo>
                    <a:pt x="8334923" y="416842"/>
                  </a:lnTo>
                  <a:lnTo>
                    <a:pt x="8364265" y="450738"/>
                  </a:lnTo>
                  <a:lnTo>
                    <a:pt x="8392464" y="485682"/>
                  </a:lnTo>
                  <a:lnTo>
                    <a:pt x="8419424" y="521672"/>
                  </a:lnTo>
                  <a:lnTo>
                    <a:pt x="8445051" y="558615"/>
                  </a:lnTo>
                  <a:lnTo>
                    <a:pt x="8469439" y="596510"/>
                  </a:lnTo>
                  <a:lnTo>
                    <a:pt x="8492493" y="635261"/>
                  </a:lnTo>
                  <a:lnTo>
                    <a:pt x="8514119" y="674965"/>
                  </a:lnTo>
                  <a:lnTo>
                    <a:pt x="8534411" y="715526"/>
                  </a:lnTo>
                  <a:lnTo>
                    <a:pt x="8553273" y="756849"/>
                  </a:lnTo>
                  <a:lnTo>
                    <a:pt x="8570611" y="798933"/>
                  </a:lnTo>
                  <a:lnTo>
                    <a:pt x="8586425" y="841779"/>
                  </a:lnTo>
                  <a:lnTo>
                    <a:pt x="8600715" y="885386"/>
                  </a:lnTo>
                  <a:lnTo>
                    <a:pt x="8613481" y="929660"/>
                  </a:lnTo>
                  <a:lnTo>
                    <a:pt x="8624627" y="974601"/>
                  </a:lnTo>
                  <a:lnTo>
                    <a:pt x="8634154" y="1020113"/>
                  </a:lnTo>
                  <a:lnTo>
                    <a:pt x="8642061" y="1066291"/>
                  </a:lnTo>
                  <a:lnTo>
                    <a:pt x="8648253" y="1112946"/>
                  </a:lnTo>
                  <a:lnTo>
                    <a:pt x="8652731" y="1160171"/>
                  </a:lnTo>
                  <a:lnTo>
                    <a:pt x="8655398" y="1207873"/>
                  </a:lnTo>
                  <a:lnTo>
                    <a:pt x="8656351" y="1256051"/>
                  </a:lnTo>
                  <a:lnTo>
                    <a:pt x="8655398" y="1304229"/>
                  </a:lnTo>
                  <a:lnTo>
                    <a:pt x="8652731" y="1351930"/>
                  </a:lnTo>
                  <a:lnTo>
                    <a:pt x="8648253" y="1399156"/>
                  </a:lnTo>
                  <a:lnTo>
                    <a:pt x="8642061" y="1445810"/>
                  </a:lnTo>
                  <a:lnTo>
                    <a:pt x="8634154" y="1491989"/>
                  </a:lnTo>
                  <a:lnTo>
                    <a:pt x="8624627" y="1537501"/>
                  </a:lnTo>
                  <a:lnTo>
                    <a:pt x="8613481" y="1582441"/>
                  </a:lnTo>
                  <a:lnTo>
                    <a:pt x="8600715" y="1626715"/>
                  </a:lnTo>
                  <a:lnTo>
                    <a:pt x="8586425" y="1670323"/>
                  </a:lnTo>
                  <a:lnTo>
                    <a:pt x="8570611" y="1713169"/>
                  </a:lnTo>
                  <a:lnTo>
                    <a:pt x="8553273" y="1755253"/>
                  </a:lnTo>
                  <a:lnTo>
                    <a:pt x="8534411" y="1796575"/>
                  </a:lnTo>
                  <a:lnTo>
                    <a:pt x="8514119" y="1837136"/>
                  </a:lnTo>
                  <a:lnTo>
                    <a:pt x="8492493" y="1876840"/>
                  </a:lnTo>
                  <a:lnTo>
                    <a:pt x="8469439" y="1915592"/>
                  </a:lnTo>
                  <a:lnTo>
                    <a:pt x="8445051" y="1953487"/>
                  </a:lnTo>
                  <a:lnTo>
                    <a:pt x="8419424" y="1990429"/>
                  </a:lnTo>
                  <a:lnTo>
                    <a:pt x="8392464" y="2026420"/>
                  </a:lnTo>
                  <a:lnTo>
                    <a:pt x="8364265" y="2061363"/>
                  </a:lnTo>
                  <a:lnTo>
                    <a:pt x="8334923" y="2095259"/>
                  </a:lnTo>
                  <a:lnTo>
                    <a:pt x="8304342" y="2128107"/>
                  </a:lnTo>
                  <a:lnTo>
                    <a:pt x="8272619" y="2159813"/>
                  </a:lnTo>
                  <a:lnTo>
                    <a:pt x="8239847" y="2190377"/>
                  </a:lnTo>
                  <a:lnTo>
                    <a:pt x="8205933" y="2219798"/>
                  </a:lnTo>
                  <a:lnTo>
                    <a:pt x="8170970" y="2247981"/>
                  </a:lnTo>
                  <a:lnTo>
                    <a:pt x="8135055" y="2274926"/>
                  </a:lnTo>
                  <a:lnTo>
                    <a:pt x="8098092" y="2300634"/>
                  </a:lnTo>
                  <a:lnTo>
                    <a:pt x="8060176" y="2325008"/>
                  </a:lnTo>
                  <a:lnTo>
                    <a:pt x="8021403" y="2348050"/>
                  </a:lnTo>
                  <a:lnTo>
                    <a:pt x="7981772" y="2369758"/>
                  </a:lnTo>
                  <a:lnTo>
                    <a:pt x="7941284" y="2390039"/>
                  </a:lnTo>
                  <a:lnTo>
                    <a:pt x="7899939" y="2408891"/>
                  </a:lnTo>
                  <a:lnTo>
                    <a:pt x="7857831" y="2426220"/>
                  </a:lnTo>
                  <a:lnTo>
                    <a:pt x="7814962" y="2442120"/>
                  </a:lnTo>
                  <a:lnTo>
                    <a:pt x="7771425" y="2456498"/>
                  </a:lnTo>
                  <a:lnTo>
                    <a:pt x="7727126" y="2469256"/>
                  </a:lnTo>
                  <a:lnTo>
                    <a:pt x="7682161" y="2480396"/>
                  </a:lnTo>
                  <a:lnTo>
                    <a:pt x="7636623" y="2489918"/>
                  </a:lnTo>
                  <a:lnTo>
                    <a:pt x="7590514" y="2497820"/>
                  </a:lnTo>
                  <a:lnTo>
                    <a:pt x="7543834" y="2504009"/>
                  </a:lnTo>
                  <a:lnTo>
                    <a:pt x="7496582" y="2508484"/>
                  </a:lnTo>
                  <a:lnTo>
                    <a:pt x="7448853" y="2511150"/>
                  </a:lnTo>
                  <a:lnTo>
                    <a:pt x="7400649" y="2512102"/>
                  </a:lnTo>
                  <a:lnTo>
                    <a:pt x="6562786" y="2512102"/>
                  </a:lnTo>
                  <a:lnTo>
                    <a:pt x="6514105" y="2513245"/>
                  </a:lnTo>
                  <a:lnTo>
                    <a:pt x="6465996" y="2516482"/>
                  </a:lnTo>
                  <a:lnTo>
                    <a:pt x="6418458" y="2521814"/>
                  </a:lnTo>
                  <a:lnTo>
                    <a:pt x="6371587" y="2529240"/>
                  </a:lnTo>
                  <a:lnTo>
                    <a:pt x="6325384" y="2538666"/>
                  </a:lnTo>
                  <a:lnTo>
                    <a:pt x="6279942" y="2550092"/>
                  </a:lnTo>
                  <a:lnTo>
                    <a:pt x="6235357" y="2563422"/>
                  </a:lnTo>
                  <a:lnTo>
                    <a:pt x="6191535" y="2578656"/>
                  </a:lnTo>
                  <a:lnTo>
                    <a:pt x="6148666" y="2595699"/>
                  </a:lnTo>
                  <a:lnTo>
                    <a:pt x="6106748" y="2614552"/>
                  </a:lnTo>
                  <a:lnTo>
                    <a:pt x="6065784" y="2635118"/>
                  </a:lnTo>
                  <a:lnTo>
                    <a:pt x="6025868" y="2657397"/>
                  </a:lnTo>
                  <a:lnTo>
                    <a:pt x="5986999" y="2681296"/>
                  </a:lnTo>
                  <a:lnTo>
                    <a:pt x="5949273" y="2706813"/>
                  </a:lnTo>
                  <a:lnTo>
                    <a:pt x="5912691" y="2733854"/>
                  </a:lnTo>
                  <a:lnTo>
                    <a:pt x="5877347" y="2762418"/>
                  </a:lnTo>
                  <a:lnTo>
                    <a:pt x="5843242" y="2792410"/>
                  </a:lnTo>
                  <a:lnTo>
                    <a:pt x="5810470" y="2823830"/>
                  </a:lnTo>
                  <a:lnTo>
                    <a:pt x="5779033" y="2856583"/>
                  </a:lnTo>
                  <a:lnTo>
                    <a:pt x="5749024" y="2890669"/>
                  </a:lnTo>
                  <a:lnTo>
                    <a:pt x="5720444" y="2925993"/>
                  </a:lnTo>
                  <a:lnTo>
                    <a:pt x="5693388" y="2962555"/>
                  </a:lnTo>
                  <a:lnTo>
                    <a:pt x="5667857" y="3000259"/>
                  </a:lnTo>
                  <a:lnTo>
                    <a:pt x="5643945" y="3039106"/>
                  </a:lnTo>
                  <a:lnTo>
                    <a:pt x="5621653" y="3079096"/>
                  </a:lnTo>
                  <a:lnTo>
                    <a:pt x="5601075" y="3120037"/>
                  </a:lnTo>
                  <a:lnTo>
                    <a:pt x="5582213" y="3162026"/>
                  </a:lnTo>
                  <a:lnTo>
                    <a:pt x="5565161" y="3204968"/>
                  </a:lnTo>
                  <a:lnTo>
                    <a:pt x="5549918" y="3248766"/>
                  </a:lnTo>
                  <a:lnTo>
                    <a:pt x="5536581" y="3293421"/>
                  </a:lnTo>
                  <a:lnTo>
                    <a:pt x="5525149" y="3338837"/>
                  </a:lnTo>
                  <a:lnTo>
                    <a:pt x="5515718" y="3385016"/>
                  </a:lnTo>
                  <a:lnTo>
                    <a:pt x="5508287" y="3431861"/>
                  </a:lnTo>
                  <a:lnTo>
                    <a:pt x="5502952" y="3479372"/>
                  </a:lnTo>
                  <a:lnTo>
                    <a:pt x="5499712" y="3527550"/>
                  </a:lnTo>
                  <a:lnTo>
                    <a:pt x="5498665" y="3576299"/>
                  </a:lnTo>
                  <a:lnTo>
                    <a:pt x="5498665" y="3967053"/>
                  </a:lnTo>
                  <a:lnTo>
                    <a:pt x="5498665" y="5565681"/>
                  </a:lnTo>
                  <a:lnTo>
                    <a:pt x="5497712" y="5613764"/>
                  </a:lnTo>
                  <a:lnTo>
                    <a:pt x="5494854" y="5661370"/>
                  </a:lnTo>
                  <a:lnTo>
                    <a:pt x="5490186" y="5708501"/>
                  </a:lnTo>
                  <a:lnTo>
                    <a:pt x="5483708" y="5755060"/>
                  </a:lnTo>
                  <a:lnTo>
                    <a:pt x="5475516" y="5801048"/>
                  </a:lnTo>
                  <a:lnTo>
                    <a:pt x="5465513" y="5846370"/>
                  </a:lnTo>
                  <a:lnTo>
                    <a:pt x="5453891" y="5891025"/>
                  </a:lnTo>
                  <a:lnTo>
                    <a:pt x="5440553" y="5935013"/>
                  </a:lnTo>
                  <a:lnTo>
                    <a:pt x="5425596" y="5978240"/>
                  </a:lnTo>
                  <a:lnTo>
                    <a:pt x="5409020" y="6020705"/>
                  </a:lnTo>
                  <a:lnTo>
                    <a:pt x="5390919" y="6062408"/>
                  </a:lnTo>
                  <a:lnTo>
                    <a:pt x="5371295" y="6103255"/>
                  </a:lnTo>
                  <a:lnTo>
                    <a:pt x="5350241" y="6143244"/>
                  </a:lnTo>
                  <a:lnTo>
                    <a:pt x="5327663" y="6182281"/>
                  </a:lnTo>
                  <a:lnTo>
                    <a:pt x="5303751" y="6220367"/>
                  </a:lnTo>
                  <a:lnTo>
                    <a:pt x="5278410" y="6257500"/>
                  </a:lnTo>
                  <a:lnTo>
                    <a:pt x="5251736" y="6293586"/>
                  </a:lnTo>
                  <a:lnTo>
                    <a:pt x="5223728" y="6328624"/>
                  </a:lnTo>
                  <a:lnTo>
                    <a:pt x="5194481" y="6362615"/>
                  </a:lnTo>
                  <a:lnTo>
                    <a:pt x="5163996" y="6395464"/>
                  </a:lnTo>
                  <a:lnTo>
                    <a:pt x="5132368" y="6427170"/>
                  </a:lnTo>
                  <a:lnTo>
                    <a:pt x="5099596" y="6457638"/>
                  </a:lnTo>
                  <a:lnTo>
                    <a:pt x="5065681" y="6486869"/>
                  </a:lnTo>
                  <a:lnTo>
                    <a:pt x="5030624" y="6514861"/>
                  </a:lnTo>
                  <a:lnTo>
                    <a:pt x="4994518" y="6541521"/>
                  </a:lnTo>
                  <a:lnTo>
                    <a:pt x="4957459" y="6566847"/>
                  </a:lnTo>
                  <a:lnTo>
                    <a:pt x="4919353" y="6590841"/>
                  </a:lnTo>
                  <a:lnTo>
                    <a:pt x="4880294" y="6613407"/>
                  </a:lnTo>
                  <a:lnTo>
                    <a:pt x="4840378" y="6634544"/>
                  </a:lnTo>
                  <a:lnTo>
                    <a:pt x="4799604" y="6654158"/>
                  </a:lnTo>
                  <a:lnTo>
                    <a:pt x="4757973" y="6672248"/>
                  </a:lnTo>
                  <a:lnTo>
                    <a:pt x="4715484" y="6688815"/>
                  </a:lnTo>
                  <a:lnTo>
                    <a:pt x="4672234" y="6703764"/>
                  </a:lnTo>
                  <a:lnTo>
                    <a:pt x="4628316" y="6717094"/>
                  </a:lnTo>
                  <a:lnTo>
                    <a:pt x="4583636" y="6728805"/>
                  </a:lnTo>
                  <a:lnTo>
                    <a:pt x="4538290" y="6738802"/>
                  </a:lnTo>
                  <a:lnTo>
                    <a:pt x="4492372" y="6746990"/>
                  </a:lnTo>
                  <a:lnTo>
                    <a:pt x="4445882" y="6753465"/>
                  </a:lnTo>
                  <a:lnTo>
                    <a:pt x="4398820" y="6758130"/>
                  </a:lnTo>
                  <a:lnTo>
                    <a:pt x="4351187" y="6760986"/>
                  </a:lnTo>
                  <a:lnTo>
                    <a:pt x="4303078" y="6761938"/>
                  </a:lnTo>
                  <a:lnTo>
                    <a:pt x="1671166" y="6761938"/>
                  </a:lnTo>
                  <a:lnTo>
                    <a:pt x="1623057" y="6760986"/>
                  </a:lnTo>
                  <a:lnTo>
                    <a:pt x="1575424" y="6758130"/>
                  </a:lnTo>
                  <a:lnTo>
                    <a:pt x="1528363" y="6753465"/>
                  </a:lnTo>
                  <a:lnTo>
                    <a:pt x="1481873" y="6746990"/>
                  </a:lnTo>
                  <a:lnTo>
                    <a:pt x="1435955" y="6738802"/>
                  </a:lnTo>
                  <a:lnTo>
                    <a:pt x="1390608" y="6728805"/>
                  </a:lnTo>
                  <a:lnTo>
                    <a:pt x="1345928" y="6717094"/>
                  </a:lnTo>
                  <a:lnTo>
                    <a:pt x="1302011" y="6703764"/>
                  </a:lnTo>
                  <a:lnTo>
                    <a:pt x="1258760" y="6688815"/>
                  </a:lnTo>
                  <a:lnTo>
                    <a:pt x="1216271" y="6672248"/>
                  </a:lnTo>
                  <a:lnTo>
                    <a:pt x="1174640" y="6654158"/>
                  </a:lnTo>
                  <a:lnTo>
                    <a:pt x="1133866" y="6634544"/>
                  </a:lnTo>
                  <a:lnTo>
                    <a:pt x="1093950" y="6613407"/>
                  </a:lnTo>
                  <a:lnTo>
                    <a:pt x="1054891" y="6590841"/>
                  </a:lnTo>
                  <a:lnTo>
                    <a:pt x="1016785" y="6566847"/>
                  </a:lnTo>
                  <a:lnTo>
                    <a:pt x="979726" y="6541521"/>
                  </a:lnTo>
                  <a:lnTo>
                    <a:pt x="943620" y="6514861"/>
                  </a:lnTo>
                  <a:lnTo>
                    <a:pt x="908562" y="6486869"/>
                  </a:lnTo>
                  <a:lnTo>
                    <a:pt x="874648" y="6457638"/>
                  </a:lnTo>
                  <a:lnTo>
                    <a:pt x="841876" y="6427170"/>
                  </a:lnTo>
                  <a:lnTo>
                    <a:pt x="810248" y="6395464"/>
                  </a:lnTo>
                  <a:lnTo>
                    <a:pt x="779763" y="6362615"/>
                  </a:lnTo>
                  <a:lnTo>
                    <a:pt x="750516" y="6328624"/>
                  </a:lnTo>
                  <a:lnTo>
                    <a:pt x="722508" y="6293586"/>
                  </a:lnTo>
                  <a:lnTo>
                    <a:pt x="695834" y="6257500"/>
                  </a:lnTo>
                  <a:lnTo>
                    <a:pt x="670493" y="6220367"/>
                  </a:lnTo>
                  <a:lnTo>
                    <a:pt x="646581" y="6182281"/>
                  </a:lnTo>
                  <a:lnTo>
                    <a:pt x="624003" y="6143244"/>
                  </a:lnTo>
                  <a:lnTo>
                    <a:pt x="602949" y="6103255"/>
                  </a:lnTo>
                  <a:lnTo>
                    <a:pt x="583325" y="6062408"/>
                  </a:lnTo>
                  <a:lnTo>
                    <a:pt x="565224" y="6020705"/>
                  </a:lnTo>
                  <a:lnTo>
                    <a:pt x="548648" y="5978240"/>
                  </a:lnTo>
                  <a:lnTo>
                    <a:pt x="533691" y="5935013"/>
                  </a:lnTo>
                  <a:lnTo>
                    <a:pt x="520354" y="5891025"/>
                  </a:lnTo>
                  <a:lnTo>
                    <a:pt x="508731" y="5846370"/>
                  </a:lnTo>
                  <a:lnTo>
                    <a:pt x="498728" y="5801048"/>
                  </a:lnTo>
                  <a:lnTo>
                    <a:pt x="490536" y="5755060"/>
                  </a:lnTo>
                  <a:lnTo>
                    <a:pt x="484057" y="5708501"/>
                  </a:lnTo>
                  <a:lnTo>
                    <a:pt x="479389" y="5661370"/>
                  </a:lnTo>
                  <a:lnTo>
                    <a:pt x="476531" y="5613764"/>
                  </a:lnTo>
                  <a:lnTo>
                    <a:pt x="475579" y="5565681"/>
                  </a:lnTo>
                  <a:lnTo>
                    <a:pt x="475579" y="5253858"/>
                  </a:lnTo>
                  <a:lnTo>
                    <a:pt x="476531" y="5205776"/>
                  </a:lnTo>
                  <a:lnTo>
                    <a:pt x="479389" y="5158169"/>
                  </a:lnTo>
                  <a:lnTo>
                    <a:pt x="484057" y="5111039"/>
                  </a:lnTo>
                  <a:lnTo>
                    <a:pt x="490536" y="5064479"/>
                  </a:lnTo>
                  <a:lnTo>
                    <a:pt x="498728" y="5018491"/>
                  </a:lnTo>
                  <a:lnTo>
                    <a:pt x="508731" y="4973170"/>
                  </a:lnTo>
                  <a:lnTo>
                    <a:pt x="520354" y="4928515"/>
                  </a:lnTo>
                  <a:lnTo>
                    <a:pt x="533691" y="4884526"/>
                  </a:lnTo>
                  <a:lnTo>
                    <a:pt x="548648" y="4841300"/>
                  </a:lnTo>
                  <a:lnTo>
                    <a:pt x="565224" y="4798835"/>
                  </a:lnTo>
                  <a:lnTo>
                    <a:pt x="583325" y="4757131"/>
                  </a:lnTo>
                  <a:lnTo>
                    <a:pt x="602949" y="4716285"/>
                  </a:lnTo>
                  <a:lnTo>
                    <a:pt x="624003" y="4676295"/>
                  </a:lnTo>
                  <a:lnTo>
                    <a:pt x="646581" y="4637258"/>
                  </a:lnTo>
                  <a:lnTo>
                    <a:pt x="670493" y="4599173"/>
                  </a:lnTo>
                  <a:lnTo>
                    <a:pt x="695834" y="4562040"/>
                  </a:lnTo>
                  <a:lnTo>
                    <a:pt x="722508" y="4525954"/>
                  </a:lnTo>
                  <a:lnTo>
                    <a:pt x="750516" y="4490915"/>
                  </a:lnTo>
                  <a:lnTo>
                    <a:pt x="779763" y="4456924"/>
                  </a:lnTo>
                  <a:lnTo>
                    <a:pt x="810248" y="4424076"/>
                  </a:lnTo>
                  <a:lnTo>
                    <a:pt x="841876" y="4392370"/>
                  </a:lnTo>
                  <a:lnTo>
                    <a:pt x="874648" y="4361901"/>
                  </a:lnTo>
                  <a:lnTo>
                    <a:pt x="908562" y="4332671"/>
                  </a:lnTo>
                  <a:lnTo>
                    <a:pt x="943620" y="4304678"/>
                  </a:lnTo>
                  <a:lnTo>
                    <a:pt x="979726" y="4278019"/>
                  </a:lnTo>
                  <a:lnTo>
                    <a:pt x="1016785" y="4252692"/>
                  </a:lnTo>
                  <a:lnTo>
                    <a:pt x="1054891" y="4228698"/>
                  </a:lnTo>
                  <a:lnTo>
                    <a:pt x="1093950" y="4206133"/>
                  </a:lnTo>
                  <a:lnTo>
                    <a:pt x="1133866" y="4184996"/>
                  </a:lnTo>
                  <a:lnTo>
                    <a:pt x="1174640" y="4165382"/>
                  </a:lnTo>
                  <a:lnTo>
                    <a:pt x="1216271" y="4147291"/>
                  </a:lnTo>
                  <a:lnTo>
                    <a:pt x="1258760" y="4130724"/>
                  </a:lnTo>
                  <a:lnTo>
                    <a:pt x="1302011" y="4115776"/>
                  </a:lnTo>
                  <a:lnTo>
                    <a:pt x="1345928" y="4102446"/>
                  </a:lnTo>
                  <a:lnTo>
                    <a:pt x="1390608" y="4090735"/>
                  </a:lnTo>
                  <a:lnTo>
                    <a:pt x="1435955" y="4080737"/>
                  </a:lnTo>
                  <a:lnTo>
                    <a:pt x="1481873" y="4072549"/>
                  </a:lnTo>
                  <a:lnTo>
                    <a:pt x="1528363" y="4066075"/>
                  </a:lnTo>
                  <a:lnTo>
                    <a:pt x="1575424" y="4061410"/>
                  </a:lnTo>
                  <a:lnTo>
                    <a:pt x="1623057" y="4058553"/>
                  </a:lnTo>
                  <a:lnTo>
                    <a:pt x="1671166" y="4057601"/>
                  </a:lnTo>
                  <a:lnTo>
                    <a:pt x="10679607" y="4057601"/>
                  </a:lnTo>
                </a:path>
              </a:pathLst>
            </a:custGeom>
            <a:ln w="9522">
              <a:solidFill>
                <a:srgbClr val="FFFFFF"/>
              </a:solidFill>
            </a:ln>
          </p:spPr>
          <p:txBody>
            <a:bodyPr wrap="square" lIns="0" tIns="0" rIns="0" bIns="0" rtlCol="0"/>
            <a:lstStyle/>
            <a:p>
              <a:endParaRPr/>
            </a:p>
          </p:txBody>
        </p:sp>
        <p:sp>
          <p:nvSpPr>
            <p:cNvPr id="8" name="object 8"/>
            <p:cNvSpPr/>
            <p:nvPr/>
          </p:nvSpPr>
          <p:spPr>
            <a:xfrm>
              <a:off x="7051445" y="6521450"/>
              <a:ext cx="2836742" cy="669095"/>
            </a:xfrm>
            <a:custGeom>
              <a:avLst/>
              <a:gdLst/>
              <a:ahLst/>
              <a:cxnLst/>
              <a:rect l="l" t="t" r="r" b="b"/>
              <a:pathLst>
                <a:path w="4700905" h="3650615">
                  <a:moveTo>
                    <a:pt x="0" y="0"/>
                  </a:moveTo>
                  <a:lnTo>
                    <a:pt x="4700448" y="0"/>
                  </a:lnTo>
                  <a:lnTo>
                    <a:pt x="4700448" y="3650419"/>
                  </a:lnTo>
                  <a:lnTo>
                    <a:pt x="0" y="3650419"/>
                  </a:lnTo>
                  <a:lnTo>
                    <a:pt x="0" y="0"/>
                  </a:lnTo>
                  <a:close/>
                </a:path>
              </a:pathLst>
            </a:custGeom>
            <a:solidFill>
              <a:srgbClr val="2E3740"/>
            </a:solidFill>
          </p:spPr>
          <p:txBody>
            <a:bodyPr wrap="square" lIns="0" tIns="0" rIns="0" bIns="0" rtlCol="0"/>
            <a:lstStyle/>
            <a:p>
              <a:pPr algn="ctr"/>
              <a:r>
                <a:rPr lang="en-AU" sz="2400" dirty="0">
                  <a:solidFill>
                    <a:schemeClr val="bg1"/>
                  </a:solidFill>
                </a:rPr>
                <a:t>Conference </a:t>
              </a:r>
            </a:p>
            <a:p>
              <a:pPr algn="ctr"/>
              <a:r>
                <a:rPr lang="en-AU" sz="2400" dirty="0">
                  <a:solidFill>
                    <a:schemeClr val="bg1"/>
                  </a:solidFill>
                </a:rPr>
                <a:t>14 &amp; 15 May 2025</a:t>
              </a:r>
              <a:endParaRPr sz="2400" dirty="0">
                <a:solidFill>
                  <a:schemeClr val="bg1"/>
                </a:solidFill>
              </a:endParaRPr>
            </a:p>
          </p:txBody>
        </p:sp>
      </p:grpSp>
      <p:sp>
        <p:nvSpPr>
          <p:cNvPr id="9" name="object 9"/>
          <p:cNvSpPr txBox="1"/>
          <p:nvPr/>
        </p:nvSpPr>
        <p:spPr>
          <a:xfrm>
            <a:off x="889564" y="3120879"/>
            <a:ext cx="1931670" cy="520700"/>
          </a:xfrm>
          <a:prstGeom prst="rect">
            <a:avLst/>
          </a:prstGeom>
        </p:spPr>
        <p:txBody>
          <a:bodyPr vert="horz" wrap="square" lIns="0" tIns="12700" rIns="0" bIns="0" rtlCol="0">
            <a:spAutoFit/>
          </a:bodyPr>
          <a:lstStyle/>
          <a:p>
            <a:pPr marL="12700" marR="5080">
              <a:lnSpc>
                <a:spcPct val="116100"/>
              </a:lnSpc>
              <a:spcBef>
                <a:spcPts val="100"/>
              </a:spcBef>
            </a:pPr>
            <a:r>
              <a:rPr sz="1400" b="1" dirty="0">
                <a:solidFill>
                  <a:srgbClr val="FFFFFF"/>
                </a:solidFill>
                <a:latin typeface="Arial"/>
                <a:cs typeface="Arial"/>
              </a:rPr>
              <a:t>“Refiring”</a:t>
            </a:r>
            <a:r>
              <a:rPr sz="1400" b="1" spc="-60" dirty="0">
                <a:solidFill>
                  <a:srgbClr val="FFFFFF"/>
                </a:solidFill>
                <a:latin typeface="Arial"/>
                <a:cs typeface="Arial"/>
              </a:rPr>
              <a:t> </a:t>
            </a:r>
            <a:r>
              <a:rPr sz="1400" b="1" dirty="0">
                <a:solidFill>
                  <a:srgbClr val="FFFFFF"/>
                </a:solidFill>
                <a:latin typeface="Arial"/>
                <a:cs typeface="Arial"/>
              </a:rPr>
              <a:t>advisers</a:t>
            </a:r>
            <a:r>
              <a:rPr sz="1400" b="1" spc="-55" dirty="0">
                <a:solidFill>
                  <a:srgbClr val="FFFFFF"/>
                </a:solidFill>
                <a:latin typeface="Arial"/>
                <a:cs typeface="Arial"/>
              </a:rPr>
              <a:t> </a:t>
            </a:r>
            <a:r>
              <a:rPr sz="1400" b="1" spc="-25" dirty="0">
                <a:solidFill>
                  <a:srgbClr val="FFFFFF"/>
                </a:solidFill>
                <a:latin typeface="Arial"/>
                <a:cs typeface="Arial"/>
              </a:rPr>
              <a:t>for </a:t>
            </a:r>
            <a:r>
              <a:rPr sz="1400" b="1" dirty="0">
                <a:solidFill>
                  <a:srgbClr val="FFFFFF"/>
                </a:solidFill>
                <a:latin typeface="Arial"/>
                <a:cs typeface="Arial"/>
              </a:rPr>
              <a:t>next</a:t>
            </a:r>
            <a:r>
              <a:rPr sz="1400" b="1" spc="-25" dirty="0">
                <a:solidFill>
                  <a:srgbClr val="FFFFFF"/>
                </a:solidFill>
                <a:latin typeface="Arial"/>
                <a:cs typeface="Arial"/>
              </a:rPr>
              <a:t> </a:t>
            </a:r>
            <a:r>
              <a:rPr sz="1400" b="1" dirty="0">
                <a:solidFill>
                  <a:srgbClr val="FFFFFF"/>
                </a:solidFill>
                <a:latin typeface="Arial"/>
                <a:cs typeface="Arial"/>
              </a:rPr>
              <a:t>level</a:t>
            </a:r>
            <a:r>
              <a:rPr sz="1400" b="1" spc="-20" dirty="0">
                <a:solidFill>
                  <a:srgbClr val="FFFFFF"/>
                </a:solidFill>
                <a:latin typeface="Arial"/>
                <a:cs typeface="Arial"/>
              </a:rPr>
              <a:t> </a:t>
            </a:r>
            <a:r>
              <a:rPr sz="1400" b="1" spc="-10" dirty="0">
                <a:solidFill>
                  <a:srgbClr val="FFFFFF"/>
                </a:solidFill>
                <a:latin typeface="Arial"/>
                <a:cs typeface="Arial"/>
              </a:rPr>
              <a:t>advice</a:t>
            </a:r>
            <a:endParaRPr sz="1400">
              <a:latin typeface="Arial"/>
              <a:cs typeface="Arial"/>
            </a:endParaRPr>
          </a:p>
        </p:txBody>
      </p:sp>
      <p:sp>
        <p:nvSpPr>
          <p:cNvPr id="10" name="object 10"/>
          <p:cNvSpPr txBox="1"/>
          <p:nvPr/>
        </p:nvSpPr>
        <p:spPr>
          <a:xfrm>
            <a:off x="4874417" y="409786"/>
            <a:ext cx="991869" cy="768350"/>
          </a:xfrm>
          <a:prstGeom prst="rect">
            <a:avLst/>
          </a:prstGeom>
        </p:spPr>
        <p:txBody>
          <a:bodyPr vert="horz" wrap="square" lIns="0" tIns="12700" rIns="0" bIns="0" rtlCol="0">
            <a:spAutoFit/>
          </a:bodyPr>
          <a:lstStyle/>
          <a:p>
            <a:pPr marL="12700" marR="5080">
              <a:lnSpc>
                <a:spcPct val="116100"/>
              </a:lnSpc>
              <a:spcBef>
                <a:spcPts val="100"/>
              </a:spcBef>
            </a:pPr>
            <a:r>
              <a:rPr sz="1400" b="1" spc="-10" dirty="0">
                <a:solidFill>
                  <a:srgbClr val="FFFFFF"/>
                </a:solidFill>
                <a:latin typeface="Arial"/>
                <a:cs typeface="Arial"/>
              </a:rPr>
              <a:t>Connecting Significant Advisers</a:t>
            </a:r>
            <a:endParaRPr sz="1400">
              <a:latin typeface="Arial"/>
              <a:cs typeface="Arial"/>
            </a:endParaRPr>
          </a:p>
        </p:txBody>
      </p:sp>
      <p:sp>
        <p:nvSpPr>
          <p:cNvPr id="11" name="object 11"/>
          <p:cNvSpPr txBox="1"/>
          <p:nvPr/>
        </p:nvSpPr>
        <p:spPr>
          <a:xfrm>
            <a:off x="2490830" y="4543635"/>
            <a:ext cx="2247265" cy="520700"/>
          </a:xfrm>
          <a:prstGeom prst="rect">
            <a:avLst/>
          </a:prstGeom>
        </p:spPr>
        <p:txBody>
          <a:bodyPr vert="horz" wrap="square" lIns="0" tIns="12700" rIns="0" bIns="0" rtlCol="0">
            <a:spAutoFit/>
          </a:bodyPr>
          <a:lstStyle/>
          <a:p>
            <a:pPr marL="12700" marR="5080">
              <a:lnSpc>
                <a:spcPct val="116100"/>
              </a:lnSpc>
              <a:spcBef>
                <a:spcPts val="100"/>
              </a:spcBef>
            </a:pPr>
            <a:r>
              <a:rPr sz="1400" b="1" dirty="0">
                <a:solidFill>
                  <a:srgbClr val="FFFFFF"/>
                </a:solidFill>
                <a:latin typeface="Arial"/>
                <a:cs typeface="Arial"/>
              </a:rPr>
              <a:t>Training</a:t>
            </a:r>
            <a:r>
              <a:rPr sz="1400" b="1" spc="-40" dirty="0">
                <a:solidFill>
                  <a:srgbClr val="FFFFFF"/>
                </a:solidFill>
                <a:latin typeface="Arial"/>
                <a:cs typeface="Arial"/>
              </a:rPr>
              <a:t> </a:t>
            </a:r>
            <a:r>
              <a:rPr sz="1400" b="1" dirty="0">
                <a:solidFill>
                  <a:srgbClr val="FFFFFF"/>
                </a:solidFill>
                <a:latin typeface="Arial"/>
                <a:cs typeface="Arial"/>
              </a:rPr>
              <a:t>and</a:t>
            </a:r>
            <a:r>
              <a:rPr sz="1400" b="1" spc="-35" dirty="0">
                <a:solidFill>
                  <a:srgbClr val="FFFFFF"/>
                </a:solidFill>
                <a:latin typeface="Arial"/>
                <a:cs typeface="Arial"/>
              </a:rPr>
              <a:t> </a:t>
            </a:r>
            <a:r>
              <a:rPr sz="1400" b="1" dirty="0">
                <a:solidFill>
                  <a:srgbClr val="FFFFFF"/>
                </a:solidFill>
                <a:latin typeface="Arial"/>
                <a:cs typeface="Arial"/>
              </a:rPr>
              <a:t>education</a:t>
            </a:r>
            <a:r>
              <a:rPr sz="1400" b="1" spc="-35" dirty="0">
                <a:solidFill>
                  <a:srgbClr val="FFFFFF"/>
                </a:solidFill>
                <a:latin typeface="Arial"/>
                <a:cs typeface="Arial"/>
              </a:rPr>
              <a:t> </a:t>
            </a:r>
            <a:r>
              <a:rPr sz="1400" b="1" spc="-25" dirty="0">
                <a:solidFill>
                  <a:srgbClr val="FFFFFF"/>
                </a:solidFill>
                <a:latin typeface="Arial"/>
                <a:cs typeface="Arial"/>
              </a:rPr>
              <a:t>on </a:t>
            </a:r>
            <a:r>
              <a:rPr sz="1400" b="1" dirty="0">
                <a:solidFill>
                  <a:srgbClr val="FFFFFF"/>
                </a:solidFill>
                <a:latin typeface="Arial"/>
                <a:cs typeface="Arial"/>
              </a:rPr>
              <a:t>Family</a:t>
            </a:r>
            <a:r>
              <a:rPr sz="1400" b="1" spc="-40" dirty="0">
                <a:solidFill>
                  <a:srgbClr val="FFFFFF"/>
                </a:solidFill>
                <a:latin typeface="Arial"/>
                <a:cs typeface="Arial"/>
              </a:rPr>
              <a:t> </a:t>
            </a:r>
            <a:r>
              <a:rPr sz="1400" b="1" dirty="0">
                <a:solidFill>
                  <a:srgbClr val="FFFFFF"/>
                </a:solidFill>
                <a:latin typeface="Arial"/>
                <a:cs typeface="Arial"/>
              </a:rPr>
              <a:t>Board</a:t>
            </a:r>
            <a:r>
              <a:rPr sz="1400" b="1" spc="-35" dirty="0">
                <a:solidFill>
                  <a:srgbClr val="FFFFFF"/>
                </a:solidFill>
                <a:latin typeface="Arial"/>
                <a:cs typeface="Arial"/>
              </a:rPr>
              <a:t> </a:t>
            </a:r>
            <a:r>
              <a:rPr sz="1400" b="1" dirty="0">
                <a:solidFill>
                  <a:srgbClr val="FFFFFF"/>
                </a:solidFill>
                <a:latin typeface="Arial"/>
                <a:cs typeface="Arial"/>
              </a:rPr>
              <a:t>style</a:t>
            </a:r>
            <a:r>
              <a:rPr sz="1400" b="1" spc="-35" dirty="0">
                <a:solidFill>
                  <a:srgbClr val="FFFFFF"/>
                </a:solidFill>
                <a:latin typeface="Arial"/>
                <a:cs typeface="Arial"/>
              </a:rPr>
              <a:t> </a:t>
            </a:r>
            <a:r>
              <a:rPr sz="1400" b="1" spc="-10" dirty="0">
                <a:solidFill>
                  <a:srgbClr val="FFFFFF"/>
                </a:solidFill>
                <a:latin typeface="Arial"/>
                <a:cs typeface="Arial"/>
              </a:rPr>
              <a:t>advice</a:t>
            </a:r>
            <a:endParaRPr sz="1400">
              <a:latin typeface="Arial"/>
              <a:cs typeface="Arial"/>
            </a:endParaRPr>
          </a:p>
        </p:txBody>
      </p:sp>
      <p:sp>
        <p:nvSpPr>
          <p:cNvPr id="12" name="object 12"/>
          <p:cNvSpPr txBox="1"/>
          <p:nvPr/>
        </p:nvSpPr>
        <p:spPr>
          <a:xfrm>
            <a:off x="6580072" y="2981397"/>
            <a:ext cx="1921510" cy="539750"/>
          </a:xfrm>
          <a:prstGeom prst="rect">
            <a:avLst/>
          </a:prstGeom>
        </p:spPr>
        <p:txBody>
          <a:bodyPr vert="horz" wrap="square" lIns="0" tIns="12700" rIns="0" bIns="0" rtlCol="0">
            <a:spAutoFit/>
          </a:bodyPr>
          <a:lstStyle/>
          <a:p>
            <a:pPr marL="12700" marR="5080">
              <a:lnSpc>
                <a:spcPct val="120500"/>
              </a:lnSpc>
              <a:spcBef>
                <a:spcPts val="100"/>
              </a:spcBef>
            </a:pPr>
            <a:r>
              <a:rPr sz="1400" b="1" dirty="0">
                <a:solidFill>
                  <a:srgbClr val="FFFFFF"/>
                </a:solidFill>
                <a:latin typeface="Arial"/>
                <a:cs typeface="Arial"/>
              </a:rPr>
              <a:t>The</a:t>
            </a:r>
            <a:r>
              <a:rPr sz="1400" b="1" spc="-25" dirty="0">
                <a:solidFill>
                  <a:srgbClr val="FFFFFF"/>
                </a:solidFill>
                <a:latin typeface="Arial"/>
                <a:cs typeface="Arial"/>
              </a:rPr>
              <a:t> </a:t>
            </a:r>
            <a:r>
              <a:rPr sz="1400" b="1" dirty="0">
                <a:solidFill>
                  <a:srgbClr val="FFFFFF"/>
                </a:solidFill>
                <a:latin typeface="Arial"/>
                <a:cs typeface="Arial"/>
              </a:rPr>
              <a:t>Hub</a:t>
            </a:r>
            <a:r>
              <a:rPr sz="1400" b="1" spc="-20" dirty="0">
                <a:solidFill>
                  <a:srgbClr val="FFFFFF"/>
                </a:solidFill>
                <a:latin typeface="Arial"/>
                <a:cs typeface="Arial"/>
              </a:rPr>
              <a:t> </a:t>
            </a:r>
            <a:r>
              <a:rPr sz="1400" b="1" dirty="0">
                <a:solidFill>
                  <a:srgbClr val="FFFFFF"/>
                </a:solidFill>
                <a:latin typeface="Arial"/>
                <a:cs typeface="Arial"/>
              </a:rPr>
              <a:t>for</a:t>
            </a:r>
            <a:r>
              <a:rPr sz="1400" b="1" spc="-20" dirty="0">
                <a:solidFill>
                  <a:srgbClr val="FFFFFF"/>
                </a:solidFill>
                <a:latin typeface="Arial"/>
                <a:cs typeface="Arial"/>
              </a:rPr>
              <a:t> </a:t>
            </a:r>
            <a:r>
              <a:rPr sz="1400" b="1" spc="-10" dirty="0">
                <a:solidFill>
                  <a:srgbClr val="FFFFFF"/>
                </a:solidFill>
                <a:latin typeface="Arial"/>
                <a:cs typeface="Arial"/>
              </a:rPr>
              <a:t>resources </a:t>
            </a:r>
            <a:r>
              <a:rPr sz="1400" b="1" dirty="0">
                <a:solidFill>
                  <a:srgbClr val="FFFFFF"/>
                </a:solidFill>
                <a:latin typeface="Arial"/>
                <a:cs typeface="Arial"/>
              </a:rPr>
              <a:t>and</a:t>
            </a:r>
            <a:r>
              <a:rPr sz="1400" b="1" spc="-25" dirty="0">
                <a:solidFill>
                  <a:srgbClr val="FFFFFF"/>
                </a:solidFill>
                <a:latin typeface="Arial"/>
                <a:cs typeface="Arial"/>
              </a:rPr>
              <a:t> IP</a:t>
            </a:r>
            <a:endParaRPr sz="1400">
              <a:latin typeface="Arial"/>
              <a:cs typeface="Arial"/>
            </a:endParaRPr>
          </a:p>
        </p:txBody>
      </p:sp>
      <p:grpSp>
        <p:nvGrpSpPr>
          <p:cNvPr id="13" name="object 13"/>
          <p:cNvGrpSpPr/>
          <p:nvPr/>
        </p:nvGrpSpPr>
        <p:grpSpPr>
          <a:xfrm>
            <a:off x="546100" y="41384"/>
            <a:ext cx="9144000" cy="6255870"/>
            <a:chOff x="890587" y="266684"/>
            <a:chExt cx="9144000" cy="6255870"/>
          </a:xfrm>
        </p:grpSpPr>
        <p:pic>
          <p:nvPicPr>
            <p:cNvPr id="14" name="object 14"/>
            <p:cNvPicPr/>
            <p:nvPr/>
          </p:nvPicPr>
          <p:blipFill>
            <a:blip r:embed="rId5" cstate="print"/>
            <a:stretch>
              <a:fillRect/>
            </a:stretch>
          </p:blipFill>
          <p:spPr>
            <a:xfrm>
              <a:off x="890587" y="2886545"/>
              <a:ext cx="219074" cy="216680"/>
            </a:xfrm>
            <a:prstGeom prst="rect">
              <a:avLst/>
            </a:prstGeom>
          </p:spPr>
        </p:pic>
        <p:pic>
          <p:nvPicPr>
            <p:cNvPr id="15" name="object 15"/>
            <p:cNvPicPr/>
            <p:nvPr/>
          </p:nvPicPr>
          <p:blipFill>
            <a:blip r:embed="rId5" cstate="print"/>
            <a:stretch>
              <a:fillRect/>
            </a:stretch>
          </p:blipFill>
          <p:spPr>
            <a:xfrm>
              <a:off x="4399705" y="266684"/>
              <a:ext cx="219074" cy="216680"/>
            </a:xfrm>
            <a:prstGeom prst="rect">
              <a:avLst/>
            </a:prstGeom>
          </p:spPr>
        </p:pic>
        <p:pic>
          <p:nvPicPr>
            <p:cNvPr id="16" name="object 16"/>
            <p:cNvPicPr/>
            <p:nvPr/>
          </p:nvPicPr>
          <p:blipFill>
            <a:blip r:embed="rId6" cstate="print"/>
            <a:stretch>
              <a:fillRect/>
            </a:stretch>
          </p:blipFill>
          <p:spPr>
            <a:xfrm>
              <a:off x="7283100" y="2765220"/>
              <a:ext cx="216680" cy="219074"/>
            </a:xfrm>
            <a:prstGeom prst="rect">
              <a:avLst/>
            </a:prstGeom>
          </p:spPr>
        </p:pic>
        <p:pic>
          <p:nvPicPr>
            <p:cNvPr id="17" name="object 17"/>
            <p:cNvPicPr/>
            <p:nvPr/>
          </p:nvPicPr>
          <p:blipFill>
            <a:blip r:embed="rId6" cstate="print"/>
            <a:stretch>
              <a:fillRect/>
            </a:stretch>
          </p:blipFill>
          <p:spPr>
            <a:xfrm>
              <a:off x="2473382" y="4328273"/>
              <a:ext cx="216680" cy="219074"/>
            </a:xfrm>
            <a:prstGeom prst="rect">
              <a:avLst/>
            </a:prstGeom>
          </p:spPr>
        </p:pic>
        <p:pic>
          <p:nvPicPr>
            <p:cNvPr id="18" name="object 18"/>
            <p:cNvPicPr/>
            <p:nvPr/>
          </p:nvPicPr>
          <p:blipFill>
            <a:blip r:embed="rId7" cstate="print"/>
            <a:stretch>
              <a:fillRect/>
            </a:stretch>
          </p:blipFill>
          <p:spPr>
            <a:xfrm>
              <a:off x="6945662" y="4697276"/>
              <a:ext cx="3088925" cy="1825278"/>
            </a:xfrm>
            <a:prstGeom prst="rect">
              <a:avLst/>
            </a:prstGeom>
          </p:spPr>
        </p:pic>
      </p:grpSp>
    </p:spTree>
    <p:extLst>
      <p:ext uri="{BB962C8B-B14F-4D97-AF65-F5344CB8AC3E}">
        <p14:creationId xmlns:p14="http://schemas.microsoft.com/office/powerpoint/2010/main" val="4897741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31D3C-9C67-5B09-15F2-768EE64137D0}"/>
              </a:ext>
            </a:extLst>
          </p:cNvPr>
          <p:cNvSpPr>
            <a:spLocks noGrp="1"/>
          </p:cNvSpPr>
          <p:nvPr>
            <p:ph type="title"/>
          </p:nvPr>
        </p:nvSpPr>
        <p:spPr>
          <a:xfrm>
            <a:off x="1169456" y="1054100"/>
            <a:ext cx="5167844" cy="861774"/>
          </a:xfrm>
        </p:spPr>
        <p:txBody>
          <a:bodyPr/>
          <a:lstStyle/>
          <a:p>
            <a:r>
              <a:rPr lang="en-AU" dirty="0"/>
              <a:t>The SAN </a:t>
            </a:r>
            <a:r>
              <a:rPr lang="en-NL" dirty="0"/>
              <a:t>Client</a:t>
            </a:r>
            <a:r>
              <a:rPr lang="en-AU" dirty="0"/>
              <a:t> - Ecosystem</a:t>
            </a:r>
            <a:endParaRPr lang="en-NL" dirty="0"/>
          </a:p>
        </p:txBody>
      </p:sp>
      <p:pic>
        <p:nvPicPr>
          <p:cNvPr id="8" name="Picture 7">
            <a:extLst>
              <a:ext uri="{FF2B5EF4-FFF2-40B4-BE49-F238E27FC236}">
                <a16:creationId xmlns:a16="http://schemas.microsoft.com/office/drawing/2014/main" id="{C64ED7AA-F78C-E3BD-CE47-8899DEFF13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6100" y="3778250"/>
            <a:ext cx="1368714" cy="1520298"/>
          </a:xfrm>
          <a:prstGeom prst="rect">
            <a:avLst/>
          </a:prstGeom>
        </p:spPr>
      </p:pic>
      <p:pic>
        <p:nvPicPr>
          <p:cNvPr id="10" name="Picture 9">
            <a:extLst>
              <a:ext uri="{FF2B5EF4-FFF2-40B4-BE49-F238E27FC236}">
                <a16:creationId xmlns:a16="http://schemas.microsoft.com/office/drawing/2014/main" id="{09D1E28E-D47A-B4B7-5419-2BCB348342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6700" y="1520292"/>
            <a:ext cx="6400800" cy="5825447"/>
          </a:xfrm>
          <a:prstGeom prst="rect">
            <a:avLst/>
          </a:prstGeom>
        </p:spPr>
      </p:pic>
      <p:sp>
        <p:nvSpPr>
          <p:cNvPr id="3" name="Slide Number Placeholder 2">
            <a:extLst>
              <a:ext uri="{FF2B5EF4-FFF2-40B4-BE49-F238E27FC236}">
                <a16:creationId xmlns:a16="http://schemas.microsoft.com/office/drawing/2014/main" id="{FD50FEF0-E00C-D57A-EE92-1B960E112779}"/>
              </a:ext>
            </a:extLst>
          </p:cNvPr>
          <p:cNvSpPr>
            <a:spLocks noGrp="1"/>
          </p:cNvSpPr>
          <p:nvPr>
            <p:ph type="sldNum" sz="quarter" idx="7"/>
          </p:nvPr>
        </p:nvSpPr>
        <p:spPr/>
        <p:txBody>
          <a:bodyPr/>
          <a:lstStyle/>
          <a:p>
            <a:fld id="{B6F15528-21DE-4FAA-801E-634DDDAF4B2B}" type="slidenum">
              <a:rPr lang="en-NL" smtClean="0"/>
              <a:t>10</a:t>
            </a:fld>
            <a:endParaRPr lang="en-NL"/>
          </a:p>
        </p:txBody>
      </p:sp>
    </p:spTree>
    <p:extLst>
      <p:ext uri="{BB962C8B-B14F-4D97-AF65-F5344CB8AC3E}">
        <p14:creationId xmlns:p14="http://schemas.microsoft.com/office/powerpoint/2010/main" val="1975784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9F01847-0ED6-7143-E512-A32C99D38171}"/>
              </a:ext>
            </a:extLst>
          </p:cNvPr>
          <p:cNvSpPr txBox="1"/>
          <p:nvPr/>
        </p:nvSpPr>
        <p:spPr>
          <a:xfrm>
            <a:off x="541694" y="783168"/>
            <a:ext cx="4533893" cy="867930"/>
          </a:xfrm>
          <a:prstGeom prst="rect">
            <a:avLst/>
          </a:prstGeom>
          <a:noFill/>
        </p:spPr>
        <p:txBody>
          <a:bodyPr wrap="square" rtlCol="0">
            <a:spAutoFit/>
          </a:bodyPr>
          <a:lstStyle/>
          <a:p>
            <a:pPr algn="l" defTabSz="802020" rtl="0">
              <a:lnSpc>
                <a:spcPct val="90000"/>
              </a:lnSpc>
              <a:defRPr/>
            </a:pPr>
            <a:r>
              <a:rPr lang="en-US" sz="2800" b="1" kern="1200" spc="-44" dirty="0">
                <a:solidFill>
                  <a:prstClr val="white"/>
                </a:solidFill>
                <a:latin typeface="Arial" panose="020B0604020202020204"/>
                <a:ea typeface="+mn-ea"/>
                <a:cs typeface="+mn-cs"/>
              </a:rPr>
              <a:t>What do these companies have in common?</a:t>
            </a:r>
          </a:p>
        </p:txBody>
      </p:sp>
      <p:sp>
        <p:nvSpPr>
          <p:cNvPr id="2" name="TextBox 1">
            <a:extLst>
              <a:ext uri="{FF2B5EF4-FFF2-40B4-BE49-F238E27FC236}">
                <a16:creationId xmlns:a16="http://schemas.microsoft.com/office/drawing/2014/main" id="{1903F257-25EB-0EA3-A15F-AC55FCE27CC6}"/>
              </a:ext>
            </a:extLst>
          </p:cNvPr>
          <p:cNvSpPr txBox="1"/>
          <p:nvPr/>
        </p:nvSpPr>
        <p:spPr>
          <a:xfrm>
            <a:off x="5491584" y="730250"/>
            <a:ext cx="5346700" cy="21328916"/>
          </a:xfrm>
          <a:prstGeom prst="rect">
            <a:avLst/>
          </a:prstGeom>
          <a:noFill/>
        </p:spPr>
        <p:txBody>
          <a:bodyPr wrap="square">
            <a:spAutoFit/>
          </a:bodyPr>
          <a:lstStyle/>
          <a:p>
            <a:pPr algn="l" defTabSz="802020" rtl="0"/>
            <a:r>
              <a:rPr lang="en-AU" sz="1200" kern="1200" dirty="0">
                <a:solidFill>
                  <a:prstClr val="white"/>
                </a:solidFill>
                <a:latin typeface="Arial" panose="020B0604020202020204"/>
                <a:ea typeface="+mn-ea"/>
                <a:cs typeface="+mn-cs"/>
              </a:rPr>
              <a:t>The Plastic Bag Company – October 2024</a:t>
            </a:r>
          </a:p>
          <a:p>
            <a:pPr algn="l" defTabSz="802020" rtl="0"/>
            <a:r>
              <a:rPr lang="en-AU" sz="1200" kern="1200" dirty="0" err="1">
                <a:solidFill>
                  <a:prstClr val="white"/>
                </a:solidFill>
                <a:latin typeface="Arial" panose="020B0604020202020204"/>
                <a:ea typeface="+mn-ea"/>
                <a:cs typeface="+mn-cs"/>
              </a:rPr>
              <a:t>eVisa</a:t>
            </a:r>
            <a:r>
              <a:rPr lang="en-AU" sz="1200" kern="1200" dirty="0">
                <a:solidFill>
                  <a:prstClr val="white"/>
                </a:solidFill>
                <a:latin typeface="Arial" panose="020B0604020202020204"/>
                <a:ea typeface="+mn-ea"/>
                <a:cs typeface="+mn-cs"/>
              </a:rPr>
              <a:t> Indonesia – October 2024</a:t>
            </a:r>
          </a:p>
          <a:p>
            <a:pPr algn="l" defTabSz="802020" rtl="0"/>
            <a:r>
              <a:rPr lang="en-AU" sz="1200" kern="1200" dirty="0">
                <a:solidFill>
                  <a:prstClr val="white"/>
                </a:solidFill>
                <a:latin typeface="Arial" panose="020B0604020202020204"/>
                <a:ea typeface="+mn-ea"/>
                <a:cs typeface="+mn-cs"/>
              </a:rPr>
              <a:t>The Internet Archive – October 2024</a:t>
            </a:r>
          </a:p>
          <a:p>
            <a:pPr algn="l" defTabSz="802020" rtl="0"/>
            <a:r>
              <a:rPr lang="en-AU" sz="1200" kern="1200" dirty="0" err="1">
                <a:solidFill>
                  <a:prstClr val="white"/>
                </a:solidFill>
                <a:latin typeface="Arial" panose="020B0604020202020204"/>
                <a:ea typeface="+mn-ea"/>
                <a:cs typeface="+mn-cs"/>
              </a:rPr>
              <a:t>Meshworks</a:t>
            </a:r>
            <a:r>
              <a:rPr lang="en-AU" sz="1200" kern="1200" dirty="0">
                <a:solidFill>
                  <a:prstClr val="white"/>
                </a:solidFill>
                <a:latin typeface="Arial" panose="020B0604020202020204"/>
                <a:ea typeface="+mn-ea"/>
                <a:cs typeface="+mn-cs"/>
              </a:rPr>
              <a:t> – October 2024</a:t>
            </a:r>
          </a:p>
          <a:p>
            <a:pPr algn="l" defTabSz="802020" rtl="0"/>
            <a:r>
              <a:rPr lang="en-AU" sz="1200" kern="1200" dirty="0">
                <a:solidFill>
                  <a:prstClr val="white"/>
                </a:solidFill>
                <a:latin typeface="Arial" panose="020B0604020202020204"/>
                <a:ea typeface="+mn-ea"/>
                <a:cs typeface="+mn-cs"/>
              </a:rPr>
              <a:t>Western Sydney University – October 2024</a:t>
            </a:r>
          </a:p>
          <a:p>
            <a:pPr algn="l" defTabSz="802020" rtl="0" fontAlgn="base"/>
            <a:r>
              <a:rPr lang="en-AU" sz="1200" kern="1200" dirty="0">
                <a:solidFill>
                  <a:prstClr val="white"/>
                </a:solidFill>
                <a:latin typeface="Open Sans" panose="020B0606030504020204" pitchFamily="34" charset="0"/>
                <a:ea typeface="+mn-ea"/>
                <a:cs typeface="+mn-cs"/>
              </a:rPr>
              <a:t>MoneyGram – Oct 2024</a:t>
            </a:r>
          </a:p>
          <a:p>
            <a:pPr algn="l" defTabSz="802020" rtl="0" fontAlgn="base"/>
            <a:r>
              <a:rPr lang="en-AU" sz="1200" kern="1200" dirty="0">
                <a:solidFill>
                  <a:prstClr val="white"/>
                </a:solidFill>
                <a:latin typeface="Open Sans" panose="020B0606030504020204" pitchFamily="34" charset="0"/>
                <a:ea typeface="+mn-ea"/>
                <a:cs typeface="+mn-cs"/>
              </a:rPr>
              <a:t>Internet Archive – Oct 2024</a:t>
            </a:r>
          </a:p>
          <a:p>
            <a:pPr algn="l" defTabSz="802020" rtl="0" fontAlgn="base"/>
            <a:r>
              <a:rPr lang="en-AU" sz="1200" kern="1200" dirty="0">
                <a:solidFill>
                  <a:prstClr val="white"/>
                </a:solidFill>
                <a:latin typeface="Open Sans" panose="020B0606030504020204" pitchFamily="34" charset="0"/>
                <a:ea typeface="+mn-ea"/>
                <a:cs typeface="+mn-cs"/>
              </a:rPr>
              <a:t>The Plastic Bag Company – Oct 2024</a:t>
            </a:r>
          </a:p>
          <a:p>
            <a:pPr algn="l" defTabSz="802020" rtl="0" fontAlgn="base"/>
            <a:r>
              <a:rPr lang="en-AU" sz="1200" kern="1200" dirty="0">
                <a:solidFill>
                  <a:prstClr val="white"/>
                </a:solidFill>
                <a:latin typeface="Open Sans" panose="020B0606030504020204" pitchFamily="34" charset="0"/>
                <a:ea typeface="+mn-ea"/>
                <a:cs typeface="+mn-cs"/>
              </a:rPr>
              <a:t>Perfection Fresh – Oct 2024</a:t>
            </a:r>
          </a:p>
          <a:p>
            <a:pPr algn="l" defTabSz="802020" rtl="0" fontAlgn="base"/>
            <a:r>
              <a:rPr lang="en-AU" sz="1200" kern="1200" dirty="0">
                <a:solidFill>
                  <a:prstClr val="white"/>
                </a:solidFill>
                <a:latin typeface="Open Sans" panose="020B0606030504020204" pitchFamily="34" charset="0"/>
                <a:ea typeface="+mn-ea"/>
                <a:cs typeface="+mn-cs"/>
              </a:rPr>
              <a:t>Qantas – Oct 2024</a:t>
            </a:r>
          </a:p>
          <a:p>
            <a:pPr algn="l" defTabSz="802020" rtl="0" fontAlgn="base"/>
            <a:r>
              <a:rPr lang="en-AU" sz="1200" kern="1200" dirty="0">
                <a:solidFill>
                  <a:prstClr val="white"/>
                </a:solidFill>
                <a:latin typeface="Open Sans" panose="020B0606030504020204" pitchFamily="34" charset="0"/>
                <a:ea typeface="+mn-ea"/>
                <a:cs typeface="+mn-cs"/>
              </a:rPr>
              <a:t>Road Distribution Services – Oct 2024</a:t>
            </a:r>
          </a:p>
          <a:p>
            <a:pPr algn="l" defTabSz="802020" rtl="0" fontAlgn="base"/>
            <a:r>
              <a:rPr lang="en-AU" sz="1200" kern="1200" dirty="0">
                <a:solidFill>
                  <a:prstClr val="white"/>
                </a:solidFill>
                <a:latin typeface="Open Sans" panose="020B0606030504020204" pitchFamily="34" charset="0"/>
                <a:ea typeface="+mn-ea"/>
                <a:cs typeface="+mn-cs"/>
              </a:rPr>
              <a:t>Strike Bowling – Oct 2024</a:t>
            </a:r>
          </a:p>
          <a:p>
            <a:pPr algn="l" defTabSz="802020" rtl="0" fontAlgn="base"/>
            <a:r>
              <a:rPr lang="en-AU" sz="1200" kern="1200" dirty="0">
                <a:solidFill>
                  <a:prstClr val="white"/>
                </a:solidFill>
                <a:latin typeface="Open Sans" panose="020B0606030504020204" pitchFamily="34" charset="0"/>
                <a:ea typeface="+mn-ea"/>
                <a:cs typeface="+mn-cs"/>
              </a:rPr>
              <a:t>Deloitte – Oct 2024</a:t>
            </a:r>
          </a:p>
          <a:p>
            <a:pPr algn="l" defTabSz="802020" rtl="0" fontAlgn="base"/>
            <a:r>
              <a:rPr lang="en-AU" sz="1200" kern="1200" dirty="0">
                <a:solidFill>
                  <a:prstClr val="white"/>
                </a:solidFill>
                <a:latin typeface="Open Sans" panose="020B0606030504020204" pitchFamily="34" charset="0"/>
                <a:ea typeface="+mn-ea"/>
                <a:cs typeface="+mn-cs"/>
              </a:rPr>
              <a:t>Fortinet – Sep 2024</a:t>
            </a:r>
          </a:p>
          <a:p>
            <a:pPr algn="l" defTabSz="802020" rtl="0" fontAlgn="base"/>
            <a:r>
              <a:rPr lang="en-AU" sz="1200" kern="1200" dirty="0">
                <a:solidFill>
                  <a:prstClr val="white"/>
                </a:solidFill>
                <a:latin typeface="Open Sans" panose="020B0606030504020204" pitchFamily="34" charset="0"/>
                <a:ea typeface="+mn-ea"/>
                <a:cs typeface="+mn-cs"/>
              </a:rPr>
              <a:t>Bloom Hearing Specialists – Sep 2024</a:t>
            </a:r>
          </a:p>
          <a:p>
            <a:pPr algn="l" defTabSz="802020" rtl="0" fontAlgn="base"/>
            <a:r>
              <a:rPr lang="en-AU" sz="1200" kern="1200" dirty="0">
                <a:solidFill>
                  <a:prstClr val="white"/>
                </a:solidFill>
                <a:latin typeface="Open Sans" panose="020B0606030504020204" pitchFamily="34" charset="0"/>
                <a:ea typeface="+mn-ea"/>
                <a:cs typeface="+mn-cs"/>
              </a:rPr>
              <a:t>I-MED – Sep 2024</a:t>
            </a:r>
          </a:p>
          <a:p>
            <a:pPr algn="l" defTabSz="802020" rtl="0" fontAlgn="base"/>
            <a:r>
              <a:rPr lang="en-AU" sz="1200" kern="1200" dirty="0" err="1">
                <a:solidFill>
                  <a:prstClr val="white"/>
                </a:solidFill>
                <a:latin typeface="Open Sans" panose="020B0606030504020204" pitchFamily="34" charset="0"/>
                <a:ea typeface="+mn-ea"/>
                <a:cs typeface="+mn-cs"/>
              </a:rPr>
              <a:t>digiDirect</a:t>
            </a:r>
            <a:r>
              <a:rPr lang="en-AU" sz="1200" kern="1200" dirty="0">
                <a:solidFill>
                  <a:prstClr val="white"/>
                </a:solidFill>
                <a:latin typeface="Open Sans" panose="020B0606030504020204" pitchFamily="34" charset="0"/>
                <a:ea typeface="+mn-ea"/>
                <a:cs typeface="+mn-cs"/>
              </a:rPr>
              <a:t> – Sep 2024</a:t>
            </a:r>
          </a:p>
          <a:p>
            <a:pPr algn="l" defTabSz="802020" rtl="0" fontAlgn="base"/>
            <a:r>
              <a:rPr lang="en-AU" sz="1200" kern="1200" dirty="0" err="1">
                <a:solidFill>
                  <a:prstClr val="white"/>
                </a:solidFill>
                <a:latin typeface="Open Sans" panose="020B0606030504020204" pitchFamily="34" charset="0"/>
                <a:ea typeface="+mn-ea"/>
                <a:cs typeface="+mn-cs"/>
              </a:rPr>
              <a:t>Nikpol</a:t>
            </a:r>
            <a:r>
              <a:rPr lang="en-AU" sz="1200" kern="1200" dirty="0">
                <a:solidFill>
                  <a:prstClr val="white"/>
                </a:solidFill>
                <a:latin typeface="Open Sans" panose="020B0606030504020204" pitchFamily="34" charset="0"/>
                <a:ea typeface="+mn-ea"/>
                <a:cs typeface="+mn-cs"/>
              </a:rPr>
              <a:t> – Sep 2024</a:t>
            </a:r>
          </a:p>
          <a:p>
            <a:pPr algn="l" defTabSz="802020" rtl="0" fontAlgn="base"/>
            <a:r>
              <a:rPr lang="en-AU" sz="1200" kern="1200" dirty="0">
                <a:solidFill>
                  <a:prstClr val="white"/>
                </a:solidFill>
                <a:latin typeface="Open Sans" panose="020B0606030504020204" pitchFamily="34" charset="0"/>
                <a:ea typeface="+mn-ea"/>
                <a:cs typeface="+mn-cs"/>
              </a:rPr>
              <a:t>Dell – Sep 2024</a:t>
            </a:r>
          </a:p>
          <a:p>
            <a:pPr algn="l" defTabSz="802020" rtl="0" fontAlgn="base"/>
            <a:r>
              <a:rPr lang="en-AU" sz="1200" kern="1200" dirty="0" err="1">
                <a:solidFill>
                  <a:prstClr val="white"/>
                </a:solidFill>
                <a:latin typeface="Open Sans" panose="020B0606030504020204" pitchFamily="34" charset="0"/>
                <a:ea typeface="+mn-ea"/>
                <a:cs typeface="+mn-cs"/>
              </a:rPr>
              <a:t>Temu</a:t>
            </a:r>
            <a:r>
              <a:rPr lang="en-AU" sz="1200" kern="1200" dirty="0">
                <a:solidFill>
                  <a:prstClr val="white"/>
                </a:solidFill>
                <a:latin typeface="Open Sans" panose="020B0606030504020204" pitchFamily="34" charset="0"/>
                <a:ea typeface="+mn-ea"/>
                <a:cs typeface="+mn-cs"/>
              </a:rPr>
              <a:t> – Sep 2024</a:t>
            </a:r>
          </a:p>
          <a:p>
            <a:pPr algn="l" defTabSz="802020" rtl="0" fontAlgn="base"/>
            <a:r>
              <a:rPr lang="en-AU" sz="1200" kern="1200" dirty="0">
                <a:solidFill>
                  <a:prstClr val="white"/>
                </a:solidFill>
                <a:latin typeface="Open Sans" panose="020B0606030504020204" pitchFamily="34" charset="0"/>
                <a:ea typeface="+mn-ea"/>
                <a:cs typeface="+mn-cs"/>
              </a:rPr>
              <a:t>Total Tools – Sep 2024</a:t>
            </a:r>
          </a:p>
          <a:p>
            <a:pPr algn="l" defTabSz="802020" rtl="0" fontAlgn="base"/>
            <a:r>
              <a:rPr lang="en-AU" sz="1200" kern="1200" dirty="0">
                <a:solidFill>
                  <a:prstClr val="white"/>
                </a:solidFill>
                <a:latin typeface="Open Sans" panose="020B0606030504020204" pitchFamily="34" charset="0"/>
                <a:ea typeface="+mn-ea"/>
                <a:cs typeface="+mn-cs"/>
              </a:rPr>
              <a:t>Compass Group – Sep 2024</a:t>
            </a:r>
          </a:p>
          <a:p>
            <a:pPr algn="l" defTabSz="802020" rtl="0" fontAlgn="base"/>
            <a:r>
              <a:rPr lang="en-AU" sz="1200" kern="1200" dirty="0">
                <a:solidFill>
                  <a:prstClr val="white"/>
                </a:solidFill>
                <a:latin typeface="Open Sans" panose="020B0606030504020204" pitchFamily="34" charset="0"/>
                <a:ea typeface="+mn-ea"/>
                <a:cs typeface="+mn-cs"/>
              </a:rPr>
              <a:t>Power Diary – Sep 2024</a:t>
            </a:r>
          </a:p>
          <a:p>
            <a:pPr algn="l" defTabSz="802020" rtl="0" fontAlgn="base"/>
            <a:r>
              <a:rPr lang="en-AU" sz="1200" kern="1200" dirty="0">
                <a:solidFill>
                  <a:prstClr val="white"/>
                </a:solidFill>
                <a:latin typeface="Open Sans" panose="020B0606030504020204" pitchFamily="34" charset="0"/>
                <a:ea typeface="+mn-ea"/>
                <a:cs typeface="+mn-cs"/>
              </a:rPr>
              <a:t>Fortinet – Sep 2024</a:t>
            </a:r>
          </a:p>
          <a:p>
            <a:pPr algn="l" defTabSz="802020" rtl="0" fontAlgn="base"/>
            <a:r>
              <a:rPr lang="en-AU" sz="1200" kern="1200" dirty="0">
                <a:solidFill>
                  <a:prstClr val="white"/>
                </a:solidFill>
                <a:latin typeface="Open Sans" panose="020B0606030504020204" pitchFamily="34" charset="0"/>
                <a:ea typeface="+mn-ea"/>
                <a:cs typeface="+mn-cs"/>
              </a:rPr>
              <a:t>BSG Australia – Sep 2024</a:t>
            </a:r>
          </a:p>
          <a:p>
            <a:pPr algn="l" defTabSz="802020" rtl="0" fontAlgn="base"/>
            <a:r>
              <a:rPr lang="en-AU" sz="1200" kern="1200" dirty="0">
                <a:solidFill>
                  <a:prstClr val="white"/>
                </a:solidFill>
                <a:latin typeface="Open Sans" panose="020B0606030504020204" pitchFamily="34" charset="0"/>
                <a:ea typeface="+mn-ea"/>
                <a:cs typeface="+mn-cs"/>
              </a:rPr>
              <a:t>Avis – Sep 2024</a:t>
            </a:r>
          </a:p>
          <a:p>
            <a:pPr algn="l" defTabSz="802020" rtl="0" fontAlgn="base"/>
            <a:r>
              <a:rPr lang="en-AU" sz="1200" kern="1200" dirty="0" err="1">
                <a:solidFill>
                  <a:prstClr val="white"/>
                </a:solidFill>
                <a:latin typeface="Open Sans" panose="020B0606030504020204" pitchFamily="34" charset="0"/>
                <a:ea typeface="+mn-ea"/>
                <a:cs typeface="+mn-cs"/>
              </a:rPr>
              <a:t>Protecta</a:t>
            </a:r>
            <a:r>
              <a:rPr lang="en-AU" sz="1200" kern="1200" dirty="0">
                <a:solidFill>
                  <a:prstClr val="white"/>
                </a:solidFill>
                <a:latin typeface="Open Sans" panose="020B0606030504020204" pitchFamily="34" charset="0"/>
                <a:ea typeface="+mn-ea"/>
                <a:cs typeface="+mn-cs"/>
              </a:rPr>
              <a:t> Australia – Sep 2024</a:t>
            </a:r>
          </a:p>
          <a:p>
            <a:pPr algn="l" defTabSz="802020" rtl="0" fontAlgn="base"/>
            <a:r>
              <a:rPr lang="en-AU" sz="1200" kern="1200" dirty="0">
                <a:solidFill>
                  <a:prstClr val="white"/>
                </a:solidFill>
                <a:latin typeface="Open Sans" panose="020B0606030504020204" pitchFamily="34" charset="0"/>
                <a:ea typeface="+mn-ea"/>
                <a:cs typeface="+mn-cs"/>
              </a:rPr>
              <a:t>White Mountain Backpacks – Sep 2024</a:t>
            </a:r>
          </a:p>
          <a:p>
            <a:pPr algn="l" defTabSz="802020" rtl="0" fontAlgn="base"/>
            <a:r>
              <a:rPr lang="en-AU" sz="1200" kern="1200" dirty="0">
                <a:solidFill>
                  <a:prstClr val="white"/>
                </a:solidFill>
                <a:latin typeface="Open Sans" panose="020B0606030504020204" pitchFamily="34" charset="0"/>
                <a:ea typeface="+mn-ea"/>
                <a:cs typeface="+mn-cs"/>
              </a:rPr>
              <a:t>Swinburne University – Sep 2024</a:t>
            </a:r>
          </a:p>
          <a:p>
            <a:pPr algn="l" defTabSz="802020" rtl="0" fontAlgn="base"/>
            <a:r>
              <a:rPr lang="en-AU" sz="1200" kern="1200" dirty="0">
                <a:solidFill>
                  <a:prstClr val="white"/>
                </a:solidFill>
                <a:latin typeface="Open Sans" panose="020B0606030504020204" pitchFamily="34" charset="0"/>
                <a:ea typeface="+mn-ea"/>
                <a:cs typeface="+mn-cs"/>
              </a:rPr>
              <a:t>Australian Cancer Research Foundation – Sep 2024</a:t>
            </a:r>
          </a:p>
          <a:p>
            <a:pPr algn="l" defTabSz="802020" rtl="0" fontAlgn="base"/>
            <a:r>
              <a:rPr lang="en-AU" sz="1200" kern="1200" dirty="0">
                <a:solidFill>
                  <a:prstClr val="white"/>
                </a:solidFill>
                <a:latin typeface="Open Sans" panose="020B0606030504020204" pitchFamily="34" charset="0"/>
                <a:ea typeface="+mn-ea"/>
                <a:cs typeface="+mn-cs"/>
              </a:rPr>
              <a:t>Bloom Hearing – August 2024</a:t>
            </a:r>
          </a:p>
          <a:p>
            <a:pPr algn="l" defTabSz="802020" rtl="0" fontAlgn="base"/>
            <a:r>
              <a:rPr lang="en-AU" sz="1200" kern="1200" dirty="0">
                <a:solidFill>
                  <a:prstClr val="white"/>
                </a:solidFill>
                <a:latin typeface="Open Sans" panose="020B0606030504020204" pitchFamily="34" charset="0"/>
                <a:ea typeface="+mn-ea"/>
                <a:cs typeface="+mn-cs"/>
              </a:rPr>
              <a:t>Regent Caravans – August 2024</a:t>
            </a:r>
          </a:p>
          <a:p>
            <a:pPr algn="l" defTabSz="802020" rtl="0" fontAlgn="base"/>
            <a:r>
              <a:rPr lang="en-AU" sz="1200" kern="1200" dirty="0">
                <a:solidFill>
                  <a:prstClr val="white"/>
                </a:solidFill>
                <a:latin typeface="Open Sans" panose="020B0606030504020204" pitchFamily="34" charset="0"/>
                <a:ea typeface="+mn-ea"/>
                <a:cs typeface="+mn-cs"/>
              </a:rPr>
              <a:t>All Parks Insurance – August 2024</a:t>
            </a:r>
          </a:p>
          <a:p>
            <a:pPr algn="l" defTabSz="802020" rtl="0" fontAlgn="base"/>
            <a:r>
              <a:rPr lang="en-AU" sz="1200" kern="1200" dirty="0">
                <a:solidFill>
                  <a:prstClr val="white"/>
                </a:solidFill>
                <a:latin typeface="Open Sans" panose="020B0606030504020204" pitchFamily="34" charset="0"/>
                <a:ea typeface="+mn-ea"/>
                <a:cs typeface="+mn-cs"/>
              </a:rPr>
              <a:t>Meli – August 2024</a:t>
            </a:r>
          </a:p>
          <a:p>
            <a:pPr algn="l" defTabSz="802020" rtl="0" fontAlgn="base"/>
            <a:r>
              <a:rPr lang="en-AU" sz="1200" kern="1200" dirty="0" err="1">
                <a:solidFill>
                  <a:prstClr val="white"/>
                </a:solidFill>
                <a:latin typeface="Open Sans" panose="020B0606030504020204" pitchFamily="34" charset="0"/>
                <a:ea typeface="+mn-ea"/>
                <a:cs typeface="+mn-cs"/>
              </a:rPr>
              <a:t>Myelec</a:t>
            </a:r>
            <a:r>
              <a:rPr lang="en-AU" sz="1200" kern="1200" dirty="0">
                <a:solidFill>
                  <a:prstClr val="white"/>
                </a:solidFill>
                <a:latin typeface="Open Sans" panose="020B0606030504020204" pitchFamily="34" charset="0"/>
                <a:ea typeface="+mn-ea"/>
                <a:cs typeface="+mn-cs"/>
              </a:rPr>
              <a:t> Electrical Wholesalers – August 2024</a:t>
            </a:r>
          </a:p>
          <a:p>
            <a:pPr algn="l" defTabSz="802020" rtl="0" fontAlgn="base"/>
            <a:r>
              <a:rPr lang="en-AU" sz="1200" kern="1200" dirty="0" err="1">
                <a:solidFill>
                  <a:prstClr val="white"/>
                </a:solidFill>
                <a:latin typeface="Open Sans" panose="020B0606030504020204" pitchFamily="34" charset="0"/>
                <a:ea typeface="+mn-ea"/>
                <a:cs typeface="+mn-cs"/>
              </a:rPr>
              <a:t>Engedi</a:t>
            </a:r>
            <a:r>
              <a:rPr lang="en-AU" sz="1200" kern="1200" dirty="0">
                <a:solidFill>
                  <a:prstClr val="white"/>
                </a:solidFill>
                <a:latin typeface="Open Sans" panose="020B0606030504020204" pitchFamily="34" charset="0"/>
                <a:ea typeface="+mn-ea"/>
                <a:cs typeface="+mn-cs"/>
              </a:rPr>
              <a:t> – August 2024</a:t>
            </a:r>
          </a:p>
          <a:p>
            <a:pPr algn="l" defTabSz="802020" rtl="0" fontAlgn="base"/>
            <a:r>
              <a:rPr lang="en-AU" sz="1200" kern="1200" dirty="0">
                <a:solidFill>
                  <a:prstClr val="white"/>
                </a:solidFill>
                <a:latin typeface="Open Sans" panose="020B0606030504020204" pitchFamily="34" charset="0"/>
                <a:ea typeface="+mn-ea"/>
                <a:cs typeface="+mn-cs"/>
              </a:rPr>
              <a:t>Adreno – August 2024</a:t>
            </a:r>
          </a:p>
          <a:p>
            <a:pPr algn="l" defTabSz="802020" rtl="0" fontAlgn="base"/>
            <a:r>
              <a:rPr lang="en-AU" sz="1200" kern="1200" dirty="0">
                <a:solidFill>
                  <a:prstClr val="white"/>
                </a:solidFill>
                <a:latin typeface="Open Sans" panose="020B0606030504020204" pitchFamily="34" charset="0"/>
                <a:ea typeface="+mn-ea"/>
                <a:cs typeface="+mn-cs"/>
              </a:rPr>
              <a:t>Evolution Mining – August 2024</a:t>
            </a:r>
          </a:p>
          <a:p>
            <a:pPr algn="l" defTabSz="802020" rtl="0" fontAlgn="base"/>
            <a:r>
              <a:rPr lang="en-AU" sz="1200" kern="1200" dirty="0">
                <a:solidFill>
                  <a:prstClr val="white"/>
                </a:solidFill>
                <a:latin typeface="Open Sans" panose="020B0606030504020204" pitchFamily="34" charset="0"/>
                <a:ea typeface="+mn-ea"/>
                <a:cs typeface="+mn-cs"/>
              </a:rPr>
              <a:t>FlightAware – August 2024</a:t>
            </a:r>
          </a:p>
          <a:p>
            <a:pPr algn="l" defTabSz="802020" rtl="0" fontAlgn="base"/>
            <a:r>
              <a:rPr lang="en-AU" sz="1200" kern="1200" dirty="0">
                <a:solidFill>
                  <a:prstClr val="white"/>
                </a:solidFill>
                <a:latin typeface="Open Sans" panose="020B0606030504020204" pitchFamily="34" charset="0"/>
                <a:ea typeface="+mn-ea"/>
                <a:cs typeface="+mn-cs"/>
              </a:rPr>
              <a:t>Hudson Civil Engineering – August 2024</a:t>
            </a:r>
          </a:p>
          <a:p>
            <a:pPr algn="l" defTabSz="802020" rtl="0" fontAlgn="base"/>
            <a:r>
              <a:rPr lang="en-AU" sz="1200" kern="1200" dirty="0">
                <a:solidFill>
                  <a:prstClr val="white"/>
                </a:solidFill>
                <a:latin typeface="Open Sans" panose="020B0606030504020204" pitchFamily="34" charset="0"/>
                <a:ea typeface="+mn-ea"/>
                <a:cs typeface="+mn-cs"/>
              </a:rPr>
              <a:t>Kempe Engineering – August 2024</a:t>
            </a:r>
          </a:p>
          <a:p>
            <a:pPr algn="l" defTabSz="802020" rtl="0" fontAlgn="base"/>
            <a:r>
              <a:rPr lang="en-AU" sz="1200" kern="1200" dirty="0">
                <a:solidFill>
                  <a:prstClr val="white"/>
                </a:solidFill>
                <a:latin typeface="Open Sans" panose="020B0606030504020204" pitchFamily="34" charset="0"/>
                <a:ea typeface="+mn-ea"/>
                <a:cs typeface="+mn-cs"/>
              </a:rPr>
              <a:t>Life360 – August 2024</a:t>
            </a:r>
          </a:p>
          <a:p>
            <a:pPr algn="l" defTabSz="802020" rtl="0" fontAlgn="base"/>
            <a:r>
              <a:rPr lang="en-AU" sz="1200" kern="1200" dirty="0">
                <a:solidFill>
                  <a:prstClr val="white"/>
                </a:solidFill>
                <a:latin typeface="Open Sans" panose="020B0606030504020204" pitchFamily="34" charset="0"/>
                <a:ea typeface="+mn-ea"/>
                <a:cs typeface="+mn-cs"/>
              </a:rPr>
              <a:t>Western Sydney University – August 2024</a:t>
            </a:r>
          </a:p>
          <a:p>
            <a:pPr algn="l" defTabSz="802020" rtl="0" fontAlgn="base"/>
            <a:r>
              <a:rPr lang="en-AU" sz="1200" kern="1200" dirty="0">
                <a:solidFill>
                  <a:prstClr val="white"/>
                </a:solidFill>
                <a:latin typeface="Open Sans" panose="020B0606030504020204" pitchFamily="34" charset="0"/>
                <a:ea typeface="+mn-ea"/>
                <a:cs typeface="+mn-cs"/>
              </a:rPr>
              <a:t>Early Settler – August 2024</a:t>
            </a:r>
          </a:p>
          <a:p>
            <a:pPr algn="l" defTabSz="802020" rtl="0" fontAlgn="base"/>
            <a:r>
              <a:rPr lang="en-AU" sz="1200" kern="1200" dirty="0">
                <a:solidFill>
                  <a:prstClr val="white"/>
                </a:solidFill>
                <a:latin typeface="Open Sans" panose="020B0606030504020204" pitchFamily="34" charset="0"/>
                <a:ea typeface="+mn-ea"/>
                <a:cs typeface="+mn-cs"/>
              </a:rPr>
              <a:t>McDowall Affleck – August 2024</a:t>
            </a:r>
          </a:p>
          <a:p>
            <a:pPr algn="l" defTabSz="802020" rtl="0" fontAlgn="base"/>
            <a:r>
              <a:rPr lang="en-AU" sz="1200" kern="1200" dirty="0">
                <a:solidFill>
                  <a:prstClr val="white"/>
                </a:solidFill>
                <a:latin typeface="Open Sans" panose="020B0606030504020204" pitchFamily="34" charset="0"/>
                <a:ea typeface="+mn-ea"/>
                <a:cs typeface="+mn-cs"/>
              </a:rPr>
              <a:t>Insula Group – July 2024</a:t>
            </a:r>
          </a:p>
          <a:p>
            <a:pPr algn="l" defTabSz="802020" rtl="0" fontAlgn="base"/>
            <a:r>
              <a:rPr lang="en-AU" sz="1200" kern="1200" dirty="0">
                <a:solidFill>
                  <a:prstClr val="white"/>
                </a:solidFill>
                <a:latin typeface="Open Sans" panose="020B0606030504020204" pitchFamily="34" charset="0"/>
                <a:ea typeface="+mn-ea"/>
                <a:cs typeface="+mn-cs"/>
              </a:rPr>
              <a:t>Wattle Range Council – July 2024</a:t>
            </a:r>
          </a:p>
          <a:p>
            <a:pPr algn="l" defTabSz="802020" rtl="0" fontAlgn="base"/>
            <a:r>
              <a:rPr lang="en-AU" sz="1200" kern="1200" dirty="0" err="1">
                <a:solidFill>
                  <a:prstClr val="white"/>
                </a:solidFill>
                <a:latin typeface="Open Sans" panose="020B0606030504020204" pitchFamily="34" charset="0"/>
                <a:ea typeface="+mn-ea"/>
                <a:cs typeface="+mn-cs"/>
              </a:rPr>
              <a:t>Healthed</a:t>
            </a:r>
            <a:r>
              <a:rPr lang="en-AU" sz="1200" kern="1200" dirty="0">
                <a:solidFill>
                  <a:prstClr val="white"/>
                </a:solidFill>
                <a:latin typeface="Open Sans" panose="020B0606030504020204" pitchFamily="34" charset="0"/>
                <a:ea typeface="+mn-ea"/>
                <a:cs typeface="+mn-cs"/>
              </a:rPr>
              <a:t> – July 2024</a:t>
            </a:r>
          </a:p>
          <a:p>
            <a:pPr algn="l" defTabSz="802020" rtl="0" fontAlgn="base"/>
            <a:r>
              <a:rPr lang="en-AU" sz="1200" kern="1200" dirty="0">
                <a:solidFill>
                  <a:prstClr val="white"/>
                </a:solidFill>
                <a:latin typeface="Open Sans" panose="020B0606030504020204" pitchFamily="34" charset="0"/>
                <a:ea typeface="+mn-ea"/>
                <a:cs typeface="+mn-cs"/>
              </a:rPr>
              <a:t>City of Ballarat/</a:t>
            </a:r>
            <a:r>
              <a:rPr lang="en-AU" sz="1200" kern="1200" dirty="0" err="1">
                <a:solidFill>
                  <a:prstClr val="white"/>
                </a:solidFill>
                <a:latin typeface="Open Sans" panose="020B0606030504020204" pitchFamily="34" charset="0"/>
                <a:ea typeface="+mn-ea"/>
                <a:cs typeface="+mn-cs"/>
              </a:rPr>
              <a:t>OracleCMS</a:t>
            </a:r>
            <a:r>
              <a:rPr lang="en-AU" sz="1200" kern="1200" dirty="0">
                <a:solidFill>
                  <a:prstClr val="white"/>
                </a:solidFill>
                <a:latin typeface="Open Sans" panose="020B0606030504020204" pitchFamily="34" charset="0"/>
                <a:ea typeface="+mn-ea"/>
                <a:cs typeface="+mn-cs"/>
              </a:rPr>
              <a:t> – July 2024</a:t>
            </a:r>
          </a:p>
          <a:p>
            <a:pPr algn="l" defTabSz="802020" rtl="0" fontAlgn="base"/>
            <a:r>
              <a:rPr lang="en-AU" sz="1200" kern="1200" dirty="0">
                <a:solidFill>
                  <a:prstClr val="white"/>
                </a:solidFill>
                <a:latin typeface="Open Sans" panose="020B0606030504020204" pitchFamily="34" charset="0"/>
                <a:ea typeface="+mn-ea"/>
                <a:cs typeface="+mn-cs"/>
              </a:rPr>
              <a:t>Roblox – July 2024</a:t>
            </a:r>
          </a:p>
          <a:p>
            <a:pPr algn="l" defTabSz="802020" rtl="0" fontAlgn="base"/>
            <a:r>
              <a:rPr lang="en-AU" sz="1200" kern="1200" dirty="0">
                <a:solidFill>
                  <a:prstClr val="white"/>
                </a:solidFill>
                <a:latin typeface="Open Sans" panose="020B0606030504020204" pitchFamily="34" charset="0"/>
                <a:ea typeface="+mn-ea"/>
                <a:cs typeface="+mn-cs"/>
              </a:rPr>
              <a:t>Royal Brighton Yacht Club – July 2024</a:t>
            </a:r>
          </a:p>
          <a:p>
            <a:pPr algn="l" defTabSz="802020" rtl="0" fontAlgn="base"/>
            <a:r>
              <a:rPr lang="en-AU" sz="1200" kern="1200" dirty="0" err="1">
                <a:solidFill>
                  <a:prstClr val="white"/>
                </a:solidFill>
                <a:latin typeface="Open Sans" panose="020B0606030504020204" pitchFamily="34" charset="0"/>
                <a:ea typeface="+mn-ea"/>
                <a:cs typeface="+mn-cs"/>
              </a:rPr>
              <a:t>MediSecure</a:t>
            </a:r>
            <a:r>
              <a:rPr lang="en-AU" sz="1200" kern="1200" dirty="0">
                <a:solidFill>
                  <a:prstClr val="white"/>
                </a:solidFill>
                <a:latin typeface="Open Sans" panose="020B0606030504020204" pitchFamily="34" charset="0"/>
                <a:ea typeface="+mn-ea"/>
                <a:cs typeface="+mn-cs"/>
              </a:rPr>
              <a:t> – July 2024</a:t>
            </a:r>
          </a:p>
          <a:p>
            <a:pPr algn="l" defTabSz="802020" rtl="0" fontAlgn="base"/>
            <a:r>
              <a:rPr lang="en-AU" sz="1200" kern="1200" dirty="0">
                <a:solidFill>
                  <a:prstClr val="white"/>
                </a:solidFill>
                <a:latin typeface="Open Sans" panose="020B0606030504020204" pitchFamily="34" charset="0"/>
                <a:ea typeface="+mn-ea"/>
                <a:cs typeface="+mn-cs"/>
              </a:rPr>
              <a:t>Optimum Allied Health – July 2024</a:t>
            </a:r>
          </a:p>
          <a:p>
            <a:pPr algn="l" defTabSz="802020" rtl="0" fontAlgn="base"/>
            <a:r>
              <a:rPr lang="en-AU" sz="1200" kern="1200" dirty="0">
                <a:solidFill>
                  <a:prstClr val="white"/>
                </a:solidFill>
                <a:latin typeface="Open Sans" panose="020B0606030504020204" pitchFamily="34" charset="0"/>
                <a:ea typeface="+mn-ea"/>
                <a:cs typeface="+mn-cs"/>
              </a:rPr>
              <a:t>Harry Perkins Institute of Medical Research – July 2024</a:t>
            </a:r>
          </a:p>
          <a:p>
            <a:pPr algn="l" defTabSz="802020" rtl="0" fontAlgn="base"/>
            <a:r>
              <a:rPr lang="en-AU" sz="1200" kern="1200" dirty="0">
                <a:solidFill>
                  <a:prstClr val="white"/>
                </a:solidFill>
                <a:latin typeface="Open Sans" panose="020B0606030504020204" pitchFamily="34" charset="0"/>
                <a:ea typeface="+mn-ea"/>
                <a:cs typeface="+mn-cs"/>
              </a:rPr>
              <a:t>Evolve Bank &amp; Trust – June 2024</a:t>
            </a:r>
          </a:p>
          <a:p>
            <a:pPr algn="l" defTabSz="802020" rtl="0" fontAlgn="base"/>
            <a:r>
              <a:rPr lang="en-AU" sz="1200" kern="1200" dirty="0">
                <a:solidFill>
                  <a:prstClr val="white"/>
                </a:solidFill>
                <a:latin typeface="Open Sans" panose="020B0606030504020204" pitchFamily="34" charset="0"/>
                <a:ea typeface="+mn-ea"/>
                <a:cs typeface="+mn-cs"/>
              </a:rPr>
              <a:t>Team Viewer – June 2024</a:t>
            </a:r>
          </a:p>
          <a:p>
            <a:pPr algn="l" defTabSz="802020" rtl="0" fontAlgn="base"/>
            <a:r>
              <a:rPr lang="en-AU" sz="1200" kern="1200" dirty="0">
                <a:solidFill>
                  <a:prstClr val="white"/>
                </a:solidFill>
                <a:latin typeface="Open Sans" panose="020B0606030504020204" pitchFamily="34" charset="0"/>
                <a:ea typeface="+mn-ea"/>
                <a:cs typeface="+mn-cs"/>
              </a:rPr>
              <a:t>Levi’s Strauss &amp; Co – June 2024</a:t>
            </a:r>
          </a:p>
          <a:p>
            <a:pPr algn="l" defTabSz="802020" rtl="0" fontAlgn="base"/>
            <a:r>
              <a:rPr lang="en-AU" sz="1200" kern="1200" dirty="0">
                <a:solidFill>
                  <a:prstClr val="white"/>
                </a:solidFill>
                <a:latin typeface="Open Sans" panose="020B0606030504020204" pitchFamily="34" charset="0"/>
                <a:ea typeface="+mn-ea"/>
                <a:cs typeface="+mn-cs"/>
              </a:rPr>
              <a:t>Victorian Auditor-General’s Office – June 2024</a:t>
            </a:r>
          </a:p>
          <a:p>
            <a:pPr algn="l" defTabSz="802020" rtl="0" fontAlgn="base"/>
            <a:r>
              <a:rPr lang="en-AU" sz="1200" kern="1200" dirty="0">
                <a:solidFill>
                  <a:prstClr val="white"/>
                </a:solidFill>
                <a:latin typeface="Open Sans" panose="020B0606030504020204" pitchFamily="34" charset="0"/>
                <a:ea typeface="+mn-ea"/>
                <a:cs typeface="+mn-cs"/>
              </a:rPr>
              <a:t>Victoria Racing Club – June 2024</a:t>
            </a:r>
          </a:p>
          <a:p>
            <a:pPr algn="l" defTabSz="802020" rtl="0" fontAlgn="base"/>
            <a:r>
              <a:rPr lang="en-AU" sz="1200" kern="1200" dirty="0">
                <a:solidFill>
                  <a:prstClr val="white"/>
                </a:solidFill>
                <a:latin typeface="Open Sans" panose="020B0606030504020204" pitchFamily="34" charset="0"/>
                <a:ea typeface="+mn-ea"/>
                <a:cs typeface="+mn-cs"/>
              </a:rPr>
              <a:t>Legrand CRM – June 2024</a:t>
            </a:r>
          </a:p>
          <a:p>
            <a:pPr algn="l" defTabSz="802020" rtl="0" fontAlgn="base"/>
            <a:r>
              <a:rPr lang="en-AU" sz="1200" kern="1200" dirty="0">
                <a:solidFill>
                  <a:prstClr val="white"/>
                </a:solidFill>
                <a:latin typeface="Open Sans" panose="020B0606030504020204" pitchFamily="34" charset="0"/>
                <a:ea typeface="+mn-ea"/>
                <a:cs typeface="+mn-cs"/>
              </a:rPr>
              <a:t>Patties Food – June 2024</a:t>
            </a:r>
          </a:p>
          <a:p>
            <a:pPr algn="l" defTabSz="802020" rtl="0" fontAlgn="base"/>
            <a:r>
              <a:rPr lang="en-AU" sz="1200" kern="1200" dirty="0">
                <a:solidFill>
                  <a:prstClr val="white"/>
                </a:solidFill>
                <a:latin typeface="Open Sans" panose="020B0606030504020204" pitchFamily="34" charset="0"/>
                <a:ea typeface="+mn-ea"/>
                <a:cs typeface="+mn-cs"/>
              </a:rPr>
              <a:t>Panasonic Australia – June 2024</a:t>
            </a:r>
          </a:p>
          <a:p>
            <a:pPr algn="l" defTabSz="802020" rtl="0" fontAlgn="base"/>
            <a:r>
              <a:rPr lang="en-AU" sz="1200" kern="1200" dirty="0">
                <a:solidFill>
                  <a:prstClr val="white"/>
                </a:solidFill>
                <a:latin typeface="Open Sans" panose="020B0606030504020204" pitchFamily="34" charset="0"/>
                <a:ea typeface="+mn-ea"/>
                <a:cs typeface="+mn-cs"/>
              </a:rPr>
              <a:t>Shell – May 2024</a:t>
            </a:r>
          </a:p>
          <a:p>
            <a:pPr algn="l" defTabSz="802020" rtl="0" fontAlgn="base"/>
            <a:r>
              <a:rPr lang="en-AU" sz="1200" kern="1200" dirty="0" err="1">
                <a:solidFill>
                  <a:prstClr val="white"/>
                </a:solidFill>
                <a:latin typeface="Open Sans" panose="020B0606030504020204" pitchFamily="34" charset="0"/>
                <a:ea typeface="+mn-ea"/>
                <a:cs typeface="+mn-cs"/>
              </a:rPr>
              <a:t>MediSecure</a:t>
            </a:r>
            <a:r>
              <a:rPr lang="en-AU" sz="1200" kern="1200" dirty="0">
                <a:solidFill>
                  <a:prstClr val="white"/>
                </a:solidFill>
                <a:latin typeface="Open Sans" panose="020B0606030504020204" pitchFamily="34" charset="0"/>
                <a:ea typeface="+mn-ea"/>
                <a:cs typeface="+mn-cs"/>
              </a:rPr>
              <a:t> – May 2024</a:t>
            </a:r>
          </a:p>
          <a:p>
            <a:pPr algn="l" defTabSz="802020" rtl="0" fontAlgn="base"/>
            <a:r>
              <a:rPr lang="en-AU" sz="1200" kern="1200" dirty="0">
                <a:solidFill>
                  <a:prstClr val="white"/>
                </a:solidFill>
                <a:latin typeface="Open Sans" panose="020B0606030504020204" pitchFamily="34" charset="0"/>
                <a:ea typeface="+mn-ea"/>
                <a:cs typeface="+mn-cs"/>
              </a:rPr>
              <a:t>SUMO – May 2024</a:t>
            </a:r>
          </a:p>
          <a:p>
            <a:pPr algn="l" defTabSz="802020" rtl="0" fontAlgn="base"/>
            <a:r>
              <a:rPr lang="en-AU" sz="1200" kern="1200" dirty="0">
                <a:solidFill>
                  <a:prstClr val="white"/>
                </a:solidFill>
                <a:latin typeface="Open Sans" panose="020B0606030504020204" pitchFamily="34" charset="0"/>
                <a:ea typeface="+mn-ea"/>
                <a:cs typeface="+mn-cs"/>
              </a:rPr>
              <a:t>Monash Health – May 2024</a:t>
            </a:r>
          </a:p>
          <a:p>
            <a:pPr algn="l" defTabSz="802020" rtl="0" fontAlgn="base"/>
            <a:r>
              <a:rPr lang="en-AU" sz="1200" kern="1200" dirty="0">
                <a:solidFill>
                  <a:prstClr val="white"/>
                </a:solidFill>
                <a:latin typeface="Open Sans" panose="020B0606030504020204" pitchFamily="34" charset="0"/>
                <a:ea typeface="+mn-ea"/>
                <a:cs typeface="+mn-cs"/>
              </a:rPr>
              <a:t>Data Breach Tsunami Hits Australia</a:t>
            </a:r>
          </a:p>
          <a:p>
            <a:pPr algn="l" defTabSz="802020" rtl="0" fontAlgn="base"/>
            <a:r>
              <a:rPr lang="en-AU" sz="1200" kern="1200" dirty="0">
                <a:solidFill>
                  <a:prstClr val="white"/>
                </a:solidFill>
                <a:latin typeface="Open Sans" panose="020B0606030504020204" pitchFamily="34" charset="0"/>
                <a:ea typeface="+mn-ea"/>
                <a:cs typeface="+mn-cs"/>
              </a:rPr>
              <a:t>SSS Australia – April 2024</a:t>
            </a:r>
          </a:p>
          <a:p>
            <a:pPr algn="l" defTabSz="802020" rtl="0" fontAlgn="base"/>
            <a:r>
              <a:rPr lang="en-AU" sz="1200" kern="1200" dirty="0">
                <a:solidFill>
                  <a:prstClr val="white"/>
                </a:solidFill>
                <a:latin typeface="Open Sans" panose="020B0606030504020204" pitchFamily="34" charset="0"/>
                <a:ea typeface="+mn-ea"/>
                <a:cs typeface="+mn-cs"/>
              </a:rPr>
              <a:t>Ambulance Victoria – April 2024</a:t>
            </a:r>
          </a:p>
          <a:p>
            <a:pPr algn="l" defTabSz="802020" rtl="0" fontAlgn="base"/>
            <a:r>
              <a:rPr lang="en-AU" sz="1200" kern="1200" dirty="0" err="1">
                <a:solidFill>
                  <a:prstClr val="white"/>
                </a:solidFill>
                <a:latin typeface="Open Sans" panose="020B0606030504020204" pitchFamily="34" charset="0"/>
                <a:ea typeface="+mn-ea"/>
                <a:cs typeface="+mn-cs"/>
              </a:rPr>
              <a:t>Aussizz</a:t>
            </a:r>
            <a:r>
              <a:rPr lang="en-AU" sz="1200" kern="1200" dirty="0">
                <a:solidFill>
                  <a:prstClr val="white"/>
                </a:solidFill>
                <a:latin typeface="Open Sans" panose="020B0606030504020204" pitchFamily="34" charset="0"/>
                <a:ea typeface="+mn-ea"/>
                <a:cs typeface="+mn-cs"/>
              </a:rPr>
              <a:t> Group – April 2024</a:t>
            </a:r>
          </a:p>
          <a:p>
            <a:pPr algn="l" defTabSz="802020" rtl="0" fontAlgn="base"/>
            <a:r>
              <a:rPr lang="en-AU" sz="1200" kern="1200" dirty="0">
                <a:solidFill>
                  <a:prstClr val="white"/>
                </a:solidFill>
                <a:latin typeface="Open Sans" panose="020B0606030504020204" pitchFamily="34" charset="0"/>
                <a:ea typeface="+mn-ea"/>
                <a:cs typeface="+mn-cs"/>
              </a:rPr>
              <a:t>Smoke Alarm Solutions – April 2024</a:t>
            </a:r>
          </a:p>
          <a:p>
            <a:pPr algn="l" defTabSz="802020" rtl="0" fontAlgn="base"/>
            <a:r>
              <a:rPr lang="en-AU" sz="1200" kern="1200" dirty="0">
                <a:solidFill>
                  <a:prstClr val="white"/>
                </a:solidFill>
                <a:latin typeface="Open Sans" panose="020B0606030504020204" pitchFamily="34" charset="0"/>
                <a:ea typeface="+mn-ea"/>
                <a:cs typeface="+mn-cs"/>
              </a:rPr>
              <a:t>Pandemonium Rocks – April 2024</a:t>
            </a:r>
          </a:p>
          <a:p>
            <a:pPr algn="l" defTabSz="802020" rtl="0" fontAlgn="base"/>
            <a:r>
              <a:rPr lang="en-AU" sz="1200" kern="1200" dirty="0">
                <a:solidFill>
                  <a:prstClr val="white"/>
                </a:solidFill>
                <a:latin typeface="Open Sans" panose="020B0606030504020204" pitchFamily="34" charset="0"/>
                <a:ea typeface="+mn-ea"/>
                <a:cs typeface="+mn-cs"/>
              </a:rPr>
              <a:t>Roku – April 2024</a:t>
            </a:r>
          </a:p>
          <a:p>
            <a:pPr algn="l" defTabSz="802020" rtl="0" fontAlgn="base"/>
            <a:r>
              <a:rPr lang="en-AU" sz="1200" kern="1200" dirty="0">
                <a:solidFill>
                  <a:prstClr val="white"/>
                </a:solidFill>
                <a:latin typeface="Open Sans" panose="020B0606030504020204" pitchFamily="34" charset="0"/>
                <a:ea typeface="+mn-ea"/>
                <a:cs typeface="+mn-cs"/>
              </a:rPr>
              <a:t>Suncorp Bank – April 2024</a:t>
            </a:r>
          </a:p>
          <a:p>
            <a:pPr algn="l" defTabSz="802020" rtl="0" fontAlgn="base"/>
            <a:r>
              <a:rPr lang="en-AU" sz="1200" kern="1200" dirty="0">
                <a:solidFill>
                  <a:prstClr val="white"/>
                </a:solidFill>
                <a:latin typeface="Open Sans" panose="020B0606030504020204" pitchFamily="34" charset="0"/>
                <a:ea typeface="+mn-ea"/>
                <a:cs typeface="+mn-cs"/>
              </a:rPr>
              <a:t>Diabetes WA – April 2024</a:t>
            </a:r>
          </a:p>
          <a:p>
            <a:pPr algn="l" defTabSz="802020" rtl="0" fontAlgn="base"/>
            <a:r>
              <a:rPr lang="en-AU" sz="1200" kern="1200" dirty="0">
                <a:solidFill>
                  <a:prstClr val="white"/>
                </a:solidFill>
                <a:latin typeface="Open Sans" panose="020B0606030504020204" pitchFamily="34" charset="0"/>
                <a:ea typeface="+mn-ea"/>
                <a:cs typeface="+mn-cs"/>
              </a:rPr>
              <a:t>Motorcycle Holdings – April 2024</a:t>
            </a:r>
          </a:p>
          <a:p>
            <a:pPr algn="l" defTabSz="802020" rtl="0" fontAlgn="base"/>
            <a:r>
              <a:rPr lang="en-AU" sz="1200" kern="1200" dirty="0" err="1">
                <a:solidFill>
                  <a:prstClr val="white"/>
                </a:solidFill>
                <a:latin typeface="Open Sans" panose="020B0606030504020204" pitchFamily="34" charset="0"/>
                <a:ea typeface="+mn-ea"/>
                <a:cs typeface="+mn-cs"/>
              </a:rPr>
              <a:t>Aussizz</a:t>
            </a:r>
            <a:r>
              <a:rPr lang="en-AU" sz="1200" kern="1200" dirty="0">
                <a:solidFill>
                  <a:prstClr val="white"/>
                </a:solidFill>
                <a:latin typeface="Open Sans" panose="020B0606030504020204" pitchFamily="34" charset="0"/>
                <a:ea typeface="+mn-ea"/>
                <a:cs typeface="+mn-cs"/>
              </a:rPr>
              <a:t> Group – April 2024</a:t>
            </a:r>
          </a:p>
          <a:p>
            <a:pPr algn="l" defTabSz="802020" rtl="0" fontAlgn="base"/>
            <a:r>
              <a:rPr lang="en-AU" sz="1200" kern="1200" dirty="0">
                <a:solidFill>
                  <a:prstClr val="white"/>
                </a:solidFill>
                <a:latin typeface="Open Sans" panose="020B0606030504020204" pitchFamily="34" charset="0"/>
                <a:ea typeface="+mn-ea"/>
                <a:cs typeface="+mn-cs"/>
              </a:rPr>
              <a:t>Nova Employment – March 2024</a:t>
            </a:r>
          </a:p>
          <a:p>
            <a:pPr algn="l" defTabSz="802020" rtl="0" fontAlgn="base"/>
            <a:r>
              <a:rPr lang="en-AU" sz="1200" kern="1200" dirty="0">
                <a:solidFill>
                  <a:prstClr val="white"/>
                </a:solidFill>
                <a:latin typeface="Open Sans" panose="020B0606030504020204" pitchFamily="34" charset="0"/>
                <a:ea typeface="+mn-ea"/>
                <a:cs typeface="+mn-cs"/>
              </a:rPr>
              <a:t>Vans – March 2024</a:t>
            </a:r>
          </a:p>
          <a:p>
            <a:pPr algn="l" defTabSz="802020" rtl="0" fontAlgn="base"/>
            <a:r>
              <a:rPr lang="en-AU" sz="1200" kern="1200" dirty="0">
                <a:solidFill>
                  <a:prstClr val="white"/>
                </a:solidFill>
                <a:latin typeface="Open Sans" panose="020B0606030504020204" pitchFamily="34" charset="0"/>
                <a:ea typeface="+mn-ea"/>
                <a:cs typeface="+mn-cs"/>
              </a:rPr>
              <a:t>Fujitsu – March 2024</a:t>
            </a:r>
          </a:p>
          <a:p>
            <a:pPr algn="l" defTabSz="802020" rtl="0" fontAlgn="base"/>
            <a:r>
              <a:rPr lang="en-AU" sz="1200" kern="1200" dirty="0">
                <a:solidFill>
                  <a:prstClr val="white"/>
                </a:solidFill>
                <a:latin typeface="Open Sans" panose="020B0606030504020204" pitchFamily="34" charset="0"/>
                <a:ea typeface="+mn-ea"/>
                <a:cs typeface="+mn-cs"/>
              </a:rPr>
              <a:t>IMF – March 2024</a:t>
            </a:r>
          </a:p>
          <a:p>
            <a:pPr algn="l" defTabSz="802020" rtl="0" fontAlgn="base"/>
            <a:r>
              <a:rPr lang="en-AU" sz="1200" kern="1200" dirty="0">
                <a:solidFill>
                  <a:prstClr val="white"/>
                </a:solidFill>
                <a:latin typeface="Open Sans" panose="020B0606030504020204" pitchFamily="34" charset="0"/>
                <a:ea typeface="+mn-ea"/>
                <a:cs typeface="+mn-cs"/>
              </a:rPr>
              <a:t>McDonald’s – March 2024</a:t>
            </a:r>
          </a:p>
          <a:p>
            <a:pPr algn="l" defTabSz="802020" rtl="0" fontAlgn="base"/>
            <a:r>
              <a:rPr lang="en-AU" sz="1200" kern="1200" dirty="0">
                <a:solidFill>
                  <a:prstClr val="white"/>
                </a:solidFill>
                <a:latin typeface="Open Sans" panose="020B0606030504020204" pitchFamily="34" charset="0"/>
                <a:ea typeface="+mn-ea"/>
                <a:cs typeface="+mn-cs"/>
              </a:rPr>
              <a:t>ACT Container Deposit Scheme – March 2024</a:t>
            </a:r>
          </a:p>
          <a:p>
            <a:pPr algn="l" defTabSz="802020" rtl="0" fontAlgn="base"/>
            <a:r>
              <a:rPr lang="en-AU" sz="1200" kern="1200" dirty="0">
                <a:solidFill>
                  <a:prstClr val="white"/>
                </a:solidFill>
                <a:latin typeface="Open Sans" panose="020B0606030504020204" pitchFamily="34" charset="0"/>
                <a:ea typeface="+mn-ea"/>
                <a:cs typeface="+mn-cs"/>
              </a:rPr>
              <a:t>OAIC Notifiable Data Breaches Report – March 2024</a:t>
            </a:r>
          </a:p>
          <a:p>
            <a:pPr algn="l" defTabSz="802020" rtl="0" fontAlgn="base"/>
            <a:r>
              <a:rPr lang="en-AU" sz="1200" kern="1200" dirty="0">
                <a:solidFill>
                  <a:prstClr val="white"/>
                </a:solidFill>
                <a:latin typeface="Open Sans" panose="020B0606030504020204" pitchFamily="34" charset="0"/>
                <a:ea typeface="+mn-ea"/>
                <a:cs typeface="+mn-cs"/>
              </a:rPr>
              <a:t>Royal Australian College of General Practitioners – March 2024</a:t>
            </a:r>
          </a:p>
          <a:p>
            <a:pPr algn="l" defTabSz="802020" rtl="0" fontAlgn="base"/>
            <a:r>
              <a:rPr lang="en-AU" sz="1200" kern="1200" dirty="0" err="1">
                <a:solidFill>
                  <a:prstClr val="white"/>
                </a:solidFill>
                <a:latin typeface="Open Sans" panose="020B0606030504020204" pitchFamily="34" charset="0"/>
                <a:ea typeface="+mn-ea"/>
                <a:cs typeface="+mn-cs"/>
              </a:rPr>
              <a:t>GaP</a:t>
            </a:r>
            <a:r>
              <a:rPr lang="en-AU" sz="1200" kern="1200" dirty="0">
                <a:solidFill>
                  <a:prstClr val="white"/>
                </a:solidFill>
                <a:latin typeface="Open Sans" panose="020B0606030504020204" pitchFamily="34" charset="0"/>
                <a:ea typeface="+mn-ea"/>
                <a:cs typeface="+mn-cs"/>
              </a:rPr>
              <a:t> Solutions – March 2024</a:t>
            </a:r>
          </a:p>
          <a:p>
            <a:pPr algn="l" defTabSz="802020" rtl="0" fontAlgn="base"/>
            <a:r>
              <a:rPr lang="en-AU" sz="1200" kern="1200" dirty="0" err="1">
                <a:solidFill>
                  <a:prstClr val="white"/>
                </a:solidFill>
                <a:latin typeface="Open Sans" panose="020B0606030504020204" pitchFamily="34" charset="0"/>
                <a:ea typeface="+mn-ea"/>
                <a:cs typeface="+mn-cs"/>
              </a:rPr>
              <a:t>ZircoDATA</a:t>
            </a:r>
            <a:r>
              <a:rPr lang="en-AU" sz="1200" kern="1200" dirty="0">
                <a:solidFill>
                  <a:prstClr val="white"/>
                </a:solidFill>
                <a:latin typeface="Open Sans" panose="020B0606030504020204" pitchFamily="34" charset="0"/>
                <a:ea typeface="+mn-ea"/>
                <a:cs typeface="+mn-cs"/>
              </a:rPr>
              <a:t> – February 2024</a:t>
            </a:r>
          </a:p>
          <a:p>
            <a:pPr algn="l" defTabSz="802020" rtl="0" fontAlgn="base"/>
            <a:r>
              <a:rPr lang="en-AU" sz="1200" kern="1200" dirty="0">
                <a:solidFill>
                  <a:prstClr val="white"/>
                </a:solidFill>
                <a:latin typeface="Open Sans" panose="020B0606030504020204" pitchFamily="34" charset="0"/>
                <a:ea typeface="+mn-ea"/>
                <a:cs typeface="+mn-cs"/>
              </a:rPr>
              <a:t>The Department of Communities – February 2024</a:t>
            </a:r>
          </a:p>
          <a:p>
            <a:pPr algn="l" defTabSz="802020" rtl="0" fontAlgn="base"/>
            <a:r>
              <a:rPr lang="en-AU" sz="1200" kern="1200" dirty="0">
                <a:solidFill>
                  <a:prstClr val="white"/>
                </a:solidFill>
                <a:latin typeface="Open Sans" panose="020B0606030504020204" pitchFamily="34" charset="0"/>
                <a:ea typeface="+mn-ea"/>
                <a:cs typeface="+mn-cs"/>
              </a:rPr>
              <a:t>Hacker offers the personal details of 25m Aussies for sale – February 2024</a:t>
            </a:r>
          </a:p>
          <a:p>
            <a:pPr algn="l" defTabSz="802020" rtl="0" fontAlgn="base"/>
            <a:r>
              <a:rPr lang="en-AU" sz="1200" kern="1200" dirty="0">
                <a:solidFill>
                  <a:prstClr val="white"/>
                </a:solidFill>
                <a:latin typeface="Open Sans" panose="020B0606030504020204" pitchFamily="34" charset="0"/>
                <a:ea typeface="+mn-ea"/>
                <a:cs typeface="+mn-cs"/>
              </a:rPr>
              <a:t>Microsoft – February 2024</a:t>
            </a:r>
          </a:p>
          <a:p>
            <a:pPr algn="l" defTabSz="802020" rtl="0" fontAlgn="base"/>
            <a:r>
              <a:rPr lang="en-AU" sz="1200" kern="1200" dirty="0">
                <a:solidFill>
                  <a:prstClr val="white"/>
                </a:solidFill>
                <a:latin typeface="Open Sans" panose="020B0606030504020204" pitchFamily="34" charset="0"/>
                <a:ea typeface="+mn-ea"/>
                <a:cs typeface="+mn-cs"/>
              </a:rPr>
              <a:t>Microsoft Azure – February 2024</a:t>
            </a:r>
          </a:p>
          <a:p>
            <a:pPr algn="l" defTabSz="802020" rtl="0" fontAlgn="base"/>
            <a:r>
              <a:rPr lang="en-AU" sz="1200" kern="1200" dirty="0" err="1">
                <a:solidFill>
                  <a:prstClr val="white"/>
                </a:solidFill>
                <a:latin typeface="Open Sans" panose="020B0606030504020204" pitchFamily="34" charset="0"/>
                <a:ea typeface="+mn-ea"/>
                <a:cs typeface="+mn-cs"/>
              </a:rPr>
              <a:t>Villis</a:t>
            </a:r>
            <a:r>
              <a:rPr lang="en-AU" sz="1200" kern="1200" dirty="0">
                <a:solidFill>
                  <a:prstClr val="white"/>
                </a:solidFill>
                <a:latin typeface="Open Sans" panose="020B0606030504020204" pitchFamily="34" charset="0"/>
                <a:ea typeface="+mn-ea"/>
                <a:cs typeface="+mn-cs"/>
              </a:rPr>
              <a:t> Bakery – February 2024</a:t>
            </a:r>
          </a:p>
          <a:p>
            <a:pPr algn="l" defTabSz="802020" rtl="0" fontAlgn="base"/>
            <a:r>
              <a:rPr lang="en-AU" sz="1200" kern="1200" dirty="0">
                <a:solidFill>
                  <a:prstClr val="white"/>
                </a:solidFill>
                <a:latin typeface="Open Sans" panose="020B0606030504020204" pitchFamily="34" charset="0"/>
                <a:ea typeface="+mn-ea"/>
                <a:cs typeface="+mn-cs"/>
              </a:rPr>
              <a:t>Tangerine Telecom – February 2024</a:t>
            </a:r>
          </a:p>
          <a:p>
            <a:pPr algn="l" defTabSz="802020" rtl="0" fontAlgn="base"/>
            <a:r>
              <a:rPr lang="en-AU" sz="1200" kern="1200" dirty="0" err="1">
                <a:solidFill>
                  <a:prstClr val="white"/>
                </a:solidFill>
                <a:latin typeface="Open Sans" panose="020B0606030504020204" pitchFamily="34" charset="0"/>
                <a:ea typeface="+mn-ea"/>
                <a:cs typeface="+mn-cs"/>
              </a:rPr>
              <a:t>Kadac</a:t>
            </a:r>
            <a:r>
              <a:rPr lang="en-AU" sz="1200" kern="1200" dirty="0">
                <a:solidFill>
                  <a:prstClr val="white"/>
                </a:solidFill>
                <a:latin typeface="Open Sans" panose="020B0606030504020204" pitchFamily="34" charset="0"/>
                <a:ea typeface="+mn-ea"/>
                <a:cs typeface="+mn-cs"/>
              </a:rPr>
              <a:t> Australia – February 2024</a:t>
            </a:r>
          </a:p>
          <a:p>
            <a:pPr algn="l" defTabSz="802020" rtl="0" fontAlgn="base"/>
            <a:r>
              <a:rPr lang="en-AU" sz="1200" kern="1200" dirty="0">
                <a:solidFill>
                  <a:prstClr val="white"/>
                </a:solidFill>
                <a:latin typeface="Open Sans" panose="020B0606030504020204" pitchFamily="34" charset="0"/>
                <a:ea typeface="+mn-ea"/>
                <a:cs typeface="+mn-cs"/>
              </a:rPr>
              <a:t>Balmain – February 2024</a:t>
            </a:r>
          </a:p>
          <a:p>
            <a:pPr algn="l" defTabSz="802020" rtl="0" fontAlgn="base"/>
            <a:r>
              <a:rPr lang="en-AU" sz="1200" kern="1200" dirty="0">
                <a:solidFill>
                  <a:prstClr val="white"/>
                </a:solidFill>
                <a:latin typeface="Open Sans" panose="020B0606030504020204" pitchFamily="34" charset="0"/>
                <a:ea typeface="+mn-ea"/>
                <a:cs typeface="+mn-cs"/>
              </a:rPr>
              <a:t>Australian Human Resources Institute – February 2024</a:t>
            </a:r>
          </a:p>
          <a:p>
            <a:pPr algn="l" defTabSz="802020" rtl="0" fontAlgn="base"/>
            <a:r>
              <a:rPr lang="en-AU" sz="1200" kern="1200" dirty="0" err="1">
                <a:solidFill>
                  <a:prstClr val="white"/>
                </a:solidFill>
                <a:latin typeface="Open Sans" panose="020B0606030504020204" pitchFamily="34" charset="0"/>
                <a:ea typeface="+mn-ea"/>
                <a:cs typeface="+mn-cs"/>
              </a:rPr>
              <a:t>AnyDesk</a:t>
            </a:r>
            <a:r>
              <a:rPr lang="en-AU" sz="1200" kern="1200" dirty="0">
                <a:solidFill>
                  <a:prstClr val="white"/>
                </a:solidFill>
                <a:latin typeface="Open Sans" panose="020B0606030504020204" pitchFamily="34" charset="0"/>
                <a:ea typeface="+mn-ea"/>
                <a:cs typeface="+mn-cs"/>
              </a:rPr>
              <a:t> – February 2024</a:t>
            </a:r>
          </a:p>
          <a:p>
            <a:pPr algn="l" defTabSz="802020" rtl="0" fontAlgn="base"/>
            <a:r>
              <a:rPr lang="en-AU" sz="1200" kern="1200" dirty="0">
                <a:solidFill>
                  <a:prstClr val="white"/>
                </a:solidFill>
                <a:latin typeface="Open Sans" panose="020B0606030504020204" pitchFamily="34" charset="0"/>
                <a:ea typeface="+mn-ea"/>
                <a:cs typeface="+mn-cs"/>
              </a:rPr>
              <a:t>Elite Supplements – February 2024</a:t>
            </a:r>
          </a:p>
          <a:p>
            <a:pPr algn="l" defTabSz="802020" rtl="0" fontAlgn="base"/>
            <a:r>
              <a:rPr lang="en-AU" sz="1200" kern="1200" dirty="0">
                <a:solidFill>
                  <a:prstClr val="white"/>
                </a:solidFill>
                <a:latin typeface="Open Sans" panose="020B0606030504020204" pitchFamily="34" charset="0"/>
                <a:ea typeface="+mn-ea"/>
                <a:cs typeface="+mn-cs"/>
              </a:rPr>
              <a:t>Cloudflare – February 2024</a:t>
            </a:r>
          </a:p>
          <a:p>
            <a:pPr algn="l" defTabSz="802020" rtl="0" fontAlgn="base"/>
            <a:r>
              <a:rPr lang="en-AU" sz="1200" kern="1200" dirty="0">
                <a:solidFill>
                  <a:prstClr val="white"/>
                </a:solidFill>
                <a:latin typeface="Open Sans" panose="020B0606030504020204" pitchFamily="34" charset="0"/>
                <a:ea typeface="+mn-ea"/>
                <a:cs typeface="+mn-cs"/>
              </a:rPr>
              <a:t>Europcar – February 2024</a:t>
            </a:r>
          </a:p>
          <a:p>
            <a:pPr algn="l" defTabSz="802020" rtl="0" fontAlgn="base"/>
            <a:r>
              <a:rPr lang="en-AU" sz="1200" kern="1200" dirty="0">
                <a:solidFill>
                  <a:prstClr val="white"/>
                </a:solidFill>
                <a:latin typeface="Open Sans" panose="020B0606030504020204" pitchFamily="34" charset="0"/>
                <a:ea typeface="+mn-ea"/>
                <a:cs typeface="+mn-cs"/>
              </a:rPr>
              <a:t>Central Coast Council – February 2024</a:t>
            </a:r>
          </a:p>
          <a:p>
            <a:pPr algn="l" defTabSz="802020" rtl="0" fontAlgn="base"/>
            <a:r>
              <a:rPr lang="en-AU" sz="1200" kern="1200" dirty="0">
                <a:solidFill>
                  <a:prstClr val="white"/>
                </a:solidFill>
                <a:latin typeface="Open Sans" panose="020B0606030504020204" pitchFamily="34" charset="0"/>
                <a:ea typeface="+mn-ea"/>
                <a:cs typeface="+mn-cs"/>
              </a:rPr>
              <a:t>Football Australia – February 2024</a:t>
            </a:r>
          </a:p>
          <a:p>
            <a:pPr algn="l" defTabSz="802020" rtl="0" fontAlgn="base"/>
            <a:r>
              <a:rPr lang="en-AU" sz="1200" kern="1200" dirty="0">
                <a:solidFill>
                  <a:prstClr val="white"/>
                </a:solidFill>
                <a:latin typeface="Open Sans" panose="020B0606030504020204" pitchFamily="34" charset="0"/>
                <a:ea typeface="+mn-ea"/>
                <a:cs typeface="+mn-cs"/>
              </a:rPr>
              <a:t>Canberra Medical Centre – January 2024</a:t>
            </a:r>
          </a:p>
          <a:p>
            <a:pPr algn="l" defTabSz="802020" rtl="0" fontAlgn="base"/>
            <a:r>
              <a:rPr lang="en-AU" sz="1200" kern="1200" dirty="0">
                <a:solidFill>
                  <a:prstClr val="white"/>
                </a:solidFill>
                <a:latin typeface="Open Sans" panose="020B0606030504020204" pitchFamily="34" charset="0"/>
                <a:ea typeface="+mn-ea"/>
                <a:cs typeface="+mn-cs"/>
              </a:rPr>
              <a:t>LinkedIn, Adobe, Twitter and More – January 2024</a:t>
            </a:r>
          </a:p>
          <a:p>
            <a:pPr algn="l" defTabSz="802020" rtl="0" fontAlgn="base"/>
            <a:r>
              <a:rPr lang="en-AU" sz="1200" kern="1200" dirty="0">
                <a:solidFill>
                  <a:prstClr val="white"/>
                </a:solidFill>
                <a:latin typeface="Open Sans" panose="020B0606030504020204" pitchFamily="34" charset="0"/>
                <a:ea typeface="+mn-ea"/>
                <a:cs typeface="+mn-cs"/>
              </a:rPr>
              <a:t>Quantum Radiology – January 2024</a:t>
            </a:r>
          </a:p>
          <a:p>
            <a:pPr algn="l" defTabSz="802020" rtl="0" fontAlgn="base"/>
            <a:r>
              <a:rPr lang="en-AU" sz="1200" kern="1200" dirty="0">
                <a:solidFill>
                  <a:prstClr val="white"/>
                </a:solidFill>
                <a:latin typeface="Open Sans" panose="020B0606030504020204" pitchFamily="34" charset="0"/>
                <a:ea typeface="+mn-ea"/>
                <a:cs typeface="+mn-cs"/>
              </a:rPr>
              <a:t>Nissan Australia – January 2024</a:t>
            </a:r>
          </a:p>
          <a:p>
            <a:pPr algn="l" defTabSz="802020" rtl="0" fontAlgn="base"/>
            <a:r>
              <a:rPr lang="en-AU" sz="1200" kern="1200" dirty="0">
                <a:solidFill>
                  <a:prstClr val="white"/>
                </a:solidFill>
                <a:latin typeface="Open Sans" panose="020B0606030504020204" pitchFamily="34" charset="0"/>
                <a:ea typeface="+mn-ea"/>
                <a:cs typeface="+mn-cs"/>
              </a:rPr>
              <a:t>Hal Leonard Australia – January 2024</a:t>
            </a:r>
          </a:p>
          <a:p>
            <a:pPr algn="l" defTabSz="802020" rtl="0" fontAlgn="base"/>
            <a:r>
              <a:rPr lang="en-AU" sz="1200" kern="1200" dirty="0">
                <a:solidFill>
                  <a:prstClr val="white"/>
                </a:solidFill>
                <a:latin typeface="Open Sans" panose="020B0606030504020204" pitchFamily="34" charset="0"/>
                <a:ea typeface="+mn-ea"/>
                <a:cs typeface="+mn-cs"/>
              </a:rPr>
              <a:t>Binge, Dan Murphys, Guzman y Gomez, The Iconic -January 2024</a:t>
            </a:r>
          </a:p>
          <a:p>
            <a:pPr algn="l" defTabSz="802020" rtl="0" fontAlgn="base"/>
            <a:r>
              <a:rPr lang="en-AU" sz="1200" kern="1200" dirty="0">
                <a:solidFill>
                  <a:prstClr val="white"/>
                </a:solidFill>
                <a:latin typeface="Open Sans" panose="020B0606030504020204" pitchFamily="34" charset="0"/>
                <a:ea typeface="+mn-ea"/>
                <a:cs typeface="+mn-cs"/>
              </a:rPr>
              <a:t>Labour – January 2024</a:t>
            </a:r>
          </a:p>
          <a:p>
            <a:pPr algn="l" defTabSz="802020" rtl="0" fontAlgn="base"/>
            <a:r>
              <a:rPr lang="en-AU" sz="1200" kern="1200" dirty="0">
                <a:solidFill>
                  <a:prstClr val="white"/>
                </a:solidFill>
                <a:latin typeface="Open Sans" panose="020B0606030504020204" pitchFamily="34" charset="0"/>
                <a:ea typeface="+mn-ea"/>
                <a:cs typeface="+mn-cs"/>
              </a:rPr>
              <a:t>The Iconic – January 2024</a:t>
            </a:r>
          </a:p>
          <a:p>
            <a:pPr algn="l" defTabSz="802020" rtl="0" fontAlgn="base"/>
            <a:r>
              <a:rPr lang="en-AU" sz="1200" kern="1200" dirty="0">
                <a:solidFill>
                  <a:prstClr val="white"/>
                </a:solidFill>
                <a:latin typeface="Open Sans" panose="020B0606030504020204" pitchFamily="34" charset="0"/>
                <a:ea typeface="+mn-ea"/>
                <a:cs typeface="+mn-cs"/>
              </a:rPr>
              <a:t>Inspiring Vacations – January 2024</a:t>
            </a:r>
          </a:p>
          <a:p>
            <a:pPr algn="l" defTabSz="802020" rtl="0" fontAlgn="base"/>
            <a:r>
              <a:rPr lang="en-AU" sz="1200" kern="1200" dirty="0">
                <a:solidFill>
                  <a:prstClr val="white"/>
                </a:solidFill>
                <a:latin typeface="Open Sans" panose="020B0606030504020204" pitchFamily="34" charset="0"/>
                <a:ea typeface="+mn-ea"/>
                <a:cs typeface="+mn-cs"/>
              </a:rPr>
              <a:t>Court Services Australia – January 2024</a:t>
            </a:r>
          </a:p>
          <a:p>
            <a:pPr algn="l" defTabSz="802020" rtl="0" fontAlgn="base"/>
            <a:r>
              <a:rPr lang="en-AU" sz="1200" kern="1200" dirty="0">
                <a:solidFill>
                  <a:prstClr val="white"/>
                </a:solidFill>
                <a:latin typeface="Open Sans" panose="020B0606030504020204" pitchFamily="34" charset="0"/>
                <a:ea typeface="+mn-ea"/>
                <a:cs typeface="+mn-cs"/>
              </a:rPr>
              <a:t>Yakult Australia – January 2024</a:t>
            </a:r>
          </a:p>
          <a:p>
            <a:pPr algn="l" defTabSz="802020" rtl="0" fontAlgn="base"/>
            <a:r>
              <a:rPr lang="en-AU" sz="1200" kern="1200" dirty="0">
                <a:solidFill>
                  <a:prstClr val="white"/>
                </a:solidFill>
                <a:latin typeface="Open Sans" panose="020B0606030504020204" pitchFamily="34" charset="0"/>
                <a:ea typeface="+mn-ea"/>
                <a:cs typeface="+mn-cs"/>
              </a:rPr>
              <a:t>Eagers Automotive – January 2024</a:t>
            </a:r>
          </a:p>
        </p:txBody>
      </p:sp>
      <p:sp>
        <p:nvSpPr>
          <p:cNvPr id="9" name="TextBox 8">
            <a:extLst>
              <a:ext uri="{FF2B5EF4-FFF2-40B4-BE49-F238E27FC236}">
                <a16:creationId xmlns:a16="http://schemas.microsoft.com/office/drawing/2014/main" id="{06ECC701-C3C2-21E2-25A4-A471A1943E1B}"/>
              </a:ext>
            </a:extLst>
          </p:cNvPr>
          <p:cNvSpPr txBox="1"/>
          <p:nvPr/>
        </p:nvSpPr>
        <p:spPr>
          <a:xfrm>
            <a:off x="541694" y="1979180"/>
            <a:ext cx="4793084" cy="4893647"/>
          </a:xfrm>
          <a:prstGeom prst="rect">
            <a:avLst/>
          </a:prstGeom>
          <a:noFill/>
        </p:spPr>
        <p:txBody>
          <a:bodyPr wrap="square" rtlCol="0">
            <a:spAutoFit/>
          </a:bodyPr>
          <a:lstStyle/>
          <a:p>
            <a:pPr algn="l" defTabSz="802020" rtl="0"/>
            <a:r>
              <a:rPr lang="en-AU" sz="1200" kern="1200" dirty="0" err="1">
                <a:solidFill>
                  <a:prstClr val="white"/>
                </a:solidFill>
                <a:latin typeface="Arial" panose="020B0604020202020204"/>
                <a:ea typeface="+mn-ea"/>
                <a:cs typeface="+mn-cs"/>
              </a:rPr>
              <a:t>CellOPark</a:t>
            </a:r>
            <a:r>
              <a:rPr lang="en-AU" sz="1200" kern="1200" dirty="0">
                <a:solidFill>
                  <a:prstClr val="white"/>
                </a:solidFill>
                <a:latin typeface="Arial" panose="020B0604020202020204"/>
                <a:ea typeface="+mn-ea"/>
                <a:cs typeface="+mn-cs"/>
              </a:rPr>
              <a:t> – December 2024</a:t>
            </a:r>
          </a:p>
          <a:p>
            <a:pPr algn="l" defTabSz="802020" rtl="0"/>
            <a:r>
              <a:rPr lang="en-AU" sz="1200" kern="1200" dirty="0">
                <a:solidFill>
                  <a:prstClr val="white"/>
                </a:solidFill>
                <a:latin typeface="Arial" panose="020B0604020202020204"/>
                <a:ea typeface="+mn-ea"/>
                <a:cs typeface="+mn-cs"/>
              </a:rPr>
              <a:t>WACER &amp; University of Sydney-Based Fresh Produce Safety Centre Australia &amp; New Zealand – December 2024</a:t>
            </a:r>
          </a:p>
          <a:p>
            <a:pPr algn="l" defTabSz="802020" rtl="0"/>
            <a:r>
              <a:rPr lang="en-AU" sz="1200" kern="1200" dirty="0">
                <a:solidFill>
                  <a:prstClr val="white"/>
                </a:solidFill>
                <a:latin typeface="Arial" panose="020B0604020202020204"/>
                <a:ea typeface="+mn-ea"/>
                <a:cs typeface="+mn-cs"/>
              </a:rPr>
              <a:t>Waverley Christian College – December 2024</a:t>
            </a:r>
          </a:p>
          <a:p>
            <a:pPr algn="l" defTabSz="802020" rtl="0"/>
            <a:r>
              <a:rPr lang="en-AU" sz="1200" kern="1200" dirty="0">
                <a:solidFill>
                  <a:prstClr val="white"/>
                </a:solidFill>
                <a:latin typeface="Arial" panose="020B0604020202020204"/>
                <a:ea typeface="+mn-ea"/>
                <a:cs typeface="+mn-cs"/>
              </a:rPr>
              <a:t>Ainsworth Game Technology – December 2024</a:t>
            </a:r>
          </a:p>
          <a:p>
            <a:pPr algn="l" defTabSz="802020" rtl="0"/>
            <a:r>
              <a:rPr lang="en-AU" sz="1200" kern="1200" dirty="0">
                <a:solidFill>
                  <a:prstClr val="white"/>
                </a:solidFill>
                <a:latin typeface="Arial" panose="020B0604020202020204"/>
                <a:ea typeface="+mn-ea"/>
                <a:cs typeface="+mn-cs"/>
              </a:rPr>
              <a:t>Thanks for the Help (TFTH) – December 2024</a:t>
            </a:r>
          </a:p>
          <a:p>
            <a:pPr algn="l" defTabSz="802020" rtl="0"/>
            <a:r>
              <a:rPr lang="en-AU" sz="1200" kern="1200" dirty="0">
                <a:solidFill>
                  <a:prstClr val="white"/>
                </a:solidFill>
                <a:latin typeface="Arial" panose="020B0604020202020204"/>
                <a:ea typeface="+mn-ea"/>
                <a:cs typeface="+mn-cs"/>
              </a:rPr>
              <a:t>Nicholsons Solicitors – December 2024</a:t>
            </a:r>
          </a:p>
          <a:p>
            <a:pPr algn="l" defTabSz="802020" rtl="0"/>
            <a:r>
              <a:rPr lang="en-AU" sz="1200" kern="1200" dirty="0">
                <a:solidFill>
                  <a:prstClr val="white"/>
                </a:solidFill>
                <a:latin typeface="Arial" panose="020B0604020202020204"/>
                <a:ea typeface="+mn-ea"/>
                <a:cs typeface="+mn-cs"/>
              </a:rPr>
              <a:t>Equinox – November 2024</a:t>
            </a:r>
          </a:p>
          <a:p>
            <a:pPr algn="l" defTabSz="802020" rtl="0"/>
            <a:r>
              <a:rPr lang="en-AU" sz="1200" kern="1200" dirty="0">
                <a:solidFill>
                  <a:prstClr val="white"/>
                </a:solidFill>
                <a:latin typeface="Arial" panose="020B0604020202020204"/>
                <a:ea typeface="+mn-ea"/>
                <a:cs typeface="+mn-cs"/>
              </a:rPr>
              <a:t>Amazon – November 2024</a:t>
            </a:r>
          </a:p>
          <a:p>
            <a:pPr algn="l" defTabSz="802020" rtl="0"/>
            <a:r>
              <a:rPr lang="en-AU" sz="1200" kern="1200" dirty="0" err="1">
                <a:solidFill>
                  <a:prstClr val="white"/>
                </a:solidFill>
                <a:latin typeface="Arial" panose="020B0604020202020204"/>
                <a:ea typeface="+mn-ea"/>
                <a:cs typeface="+mn-cs"/>
              </a:rPr>
              <a:t>Finsure</a:t>
            </a:r>
            <a:r>
              <a:rPr lang="en-AU" sz="1200" kern="1200" dirty="0">
                <a:solidFill>
                  <a:prstClr val="white"/>
                </a:solidFill>
                <a:latin typeface="Arial" panose="020B0604020202020204"/>
                <a:ea typeface="+mn-ea"/>
                <a:cs typeface="+mn-cs"/>
              </a:rPr>
              <a:t> – November 2024</a:t>
            </a:r>
          </a:p>
          <a:p>
            <a:pPr algn="l" defTabSz="802020" rtl="0"/>
            <a:r>
              <a:rPr lang="en-AU" sz="1200" kern="1200" dirty="0">
                <a:solidFill>
                  <a:prstClr val="white"/>
                </a:solidFill>
                <a:latin typeface="Arial" panose="020B0604020202020204"/>
                <a:ea typeface="+mn-ea"/>
                <a:cs typeface="+mn-cs"/>
              </a:rPr>
              <a:t>Telstra – November 2024</a:t>
            </a:r>
          </a:p>
          <a:p>
            <a:pPr algn="l" defTabSz="802020" rtl="0"/>
            <a:r>
              <a:rPr lang="en-AU" sz="1200" kern="1200" dirty="0">
                <a:solidFill>
                  <a:prstClr val="white"/>
                </a:solidFill>
                <a:latin typeface="Arial" panose="020B0604020202020204"/>
                <a:ea typeface="+mn-ea"/>
                <a:cs typeface="+mn-cs"/>
              </a:rPr>
              <a:t>Snow Brand Australia- November 2024</a:t>
            </a:r>
          </a:p>
          <a:p>
            <a:pPr algn="l" defTabSz="802020" rtl="0"/>
            <a:r>
              <a:rPr lang="en-AU" sz="1200" kern="1200" dirty="0">
                <a:solidFill>
                  <a:prstClr val="white"/>
                </a:solidFill>
                <a:latin typeface="Arial" panose="020B0604020202020204"/>
                <a:ea typeface="+mn-ea"/>
                <a:cs typeface="+mn-cs"/>
              </a:rPr>
              <a:t>ASIC/Waive – November 2024</a:t>
            </a:r>
          </a:p>
          <a:p>
            <a:pPr algn="l" defTabSz="802020" rtl="0"/>
            <a:r>
              <a:rPr lang="en-AU" sz="1200" kern="1200" dirty="0">
                <a:solidFill>
                  <a:prstClr val="white"/>
                </a:solidFill>
                <a:latin typeface="Arial" panose="020B0604020202020204"/>
                <a:ea typeface="+mn-ea"/>
                <a:cs typeface="+mn-cs"/>
              </a:rPr>
              <a:t>ADT Freight Services – November 2024</a:t>
            </a:r>
          </a:p>
          <a:p>
            <a:pPr algn="l" defTabSz="802020" rtl="0"/>
            <a:r>
              <a:rPr lang="en-AU" sz="1200" kern="1200" dirty="0" err="1">
                <a:solidFill>
                  <a:prstClr val="white"/>
                </a:solidFill>
                <a:latin typeface="Arial" panose="020B0604020202020204"/>
                <a:ea typeface="+mn-ea"/>
                <a:cs typeface="+mn-cs"/>
              </a:rPr>
              <a:t>Micon</a:t>
            </a:r>
            <a:r>
              <a:rPr lang="en-AU" sz="1200" kern="1200" dirty="0">
                <a:solidFill>
                  <a:prstClr val="white"/>
                </a:solidFill>
                <a:latin typeface="Arial" panose="020B0604020202020204"/>
                <a:ea typeface="+mn-ea"/>
                <a:cs typeface="+mn-cs"/>
              </a:rPr>
              <a:t> Office National – November 2024</a:t>
            </a:r>
          </a:p>
          <a:p>
            <a:pPr algn="l" defTabSz="802020" rtl="0"/>
            <a:r>
              <a:rPr lang="en-AU" sz="1200" kern="1200" dirty="0" err="1">
                <a:solidFill>
                  <a:prstClr val="white"/>
                </a:solidFill>
                <a:latin typeface="Arial" panose="020B0604020202020204"/>
                <a:ea typeface="+mn-ea"/>
                <a:cs typeface="+mn-cs"/>
              </a:rPr>
              <a:t>JewishCare</a:t>
            </a:r>
            <a:r>
              <a:rPr lang="en-AU" sz="1200" kern="1200" dirty="0">
                <a:solidFill>
                  <a:prstClr val="white"/>
                </a:solidFill>
                <a:latin typeface="Arial" panose="020B0604020202020204"/>
                <a:ea typeface="+mn-ea"/>
                <a:cs typeface="+mn-cs"/>
              </a:rPr>
              <a:t> – November 2024</a:t>
            </a:r>
          </a:p>
          <a:p>
            <a:pPr algn="l" defTabSz="802020" rtl="0"/>
            <a:r>
              <a:rPr lang="en-AU" sz="1200" kern="1200" dirty="0" err="1">
                <a:solidFill>
                  <a:prstClr val="white"/>
                </a:solidFill>
                <a:latin typeface="Arial" panose="020B0604020202020204"/>
                <a:ea typeface="+mn-ea"/>
                <a:cs typeface="+mn-cs"/>
              </a:rPr>
              <a:t>Followmont</a:t>
            </a:r>
            <a:r>
              <a:rPr lang="en-AU" sz="1200" kern="1200" dirty="0">
                <a:solidFill>
                  <a:prstClr val="white"/>
                </a:solidFill>
                <a:latin typeface="Arial" panose="020B0604020202020204"/>
                <a:ea typeface="+mn-ea"/>
                <a:cs typeface="+mn-cs"/>
              </a:rPr>
              <a:t> Transport – November 2024</a:t>
            </a:r>
          </a:p>
          <a:p>
            <a:pPr algn="l" defTabSz="802020" rtl="0"/>
            <a:r>
              <a:rPr lang="en-AU" sz="1200" kern="1200" dirty="0">
                <a:solidFill>
                  <a:prstClr val="white"/>
                </a:solidFill>
                <a:latin typeface="Arial" panose="020B0604020202020204"/>
                <a:ea typeface="+mn-ea"/>
                <a:cs typeface="+mn-cs"/>
              </a:rPr>
              <a:t>Schneider Electric – November 2024</a:t>
            </a:r>
          </a:p>
          <a:p>
            <a:pPr algn="l" defTabSz="802020" rtl="0"/>
            <a:r>
              <a:rPr lang="en-AU" sz="1200" kern="1200" dirty="0">
                <a:solidFill>
                  <a:prstClr val="white"/>
                </a:solidFill>
                <a:latin typeface="Arial" panose="020B0604020202020204"/>
                <a:ea typeface="+mn-ea"/>
                <a:cs typeface="+mn-cs"/>
              </a:rPr>
              <a:t>CISCO – November 2024</a:t>
            </a:r>
          </a:p>
          <a:p>
            <a:pPr algn="l" defTabSz="802020" rtl="0"/>
            <a:r>
              <a:rPr lang="en-AU" sz="1200" kern="1200" dirty="0">
                <a:solidFill>
                  <a:prstClr val="white"/>
                </a:solidFill>
                <a:latin typeface="Arial" panose="020B0604020202020204"/>
                <a:ea typeface="+mn-ea"/>
                <a:cs typeface="+mn-cs"/>
              </a:rPr>
              <a:t>Goodline – November 2024</a:t>
            </a:r>
          </a:p>
          <a:p>
            <a:pPr algn="l" defTabSz="802020" rtl="0"/>
            <a:r>
              <a:rPr lang="en-AU" sz="1200" kern="1200" dirty="0">
                <a:solidFill>
                  <a:prstClr val="white"/>
                </a:solidFill>
                <a:latin typeface="Arial" panose="020B0604020202020204"/>
                <a:ea typeface="+mn-ea"/>
                <a:cs typeface="+mn-cs"/>
              </a:rPr>
              <a:t>Nokia – November 2024</a:t>
            </a:r>
          </a:p>
          <a:p>
            <a:pPr algn="l" defTabSz="802020" rtl="0"/>
            <a:r>
              <a:rPr lang="en-AU" sz="1200" kern="1200" dirty="0">
                <a:solidFill>
                  <a:prstClr val="white"/>
                </a:solidFill>
                <a:latin typeface="Arial" panose="020B0604020202020204"/>
                <a:ea typeface="+mn-ea"/>
                <a:cs typeface="+mn-cs"/>
              </a:rPr>
              <a:t>ANU Enterprise – November 2024</a:t>
            </a:r>
          </a:p>
          <a:p>
            <a:pPr algn="l" defTabSz="802020" rtl="0"/>
            <a:r>
              <a:rPr lang="en-AU" sz="1200" kern="1200" dirty="0">
                <a:solidFill>
                  <a:prstClr val="white"/>
                </a:solidFill>
                <a:latin typeface="Arial" panose="020B0604020202020204"/>
                <a:ea typeface="+mn-ea"/>
                <a:cs typeface="+mn-cs"/>
              </a:rPr>
              <a:t>Australian Nursing Home Foundation – November 2024</a:t>
            </a:r>
          </a:p>
          <a:p>
            <a:pPr algn="l" defTabSz="802020" rtl="0"/>
            <a:r>
              <a:rPr lang="en-AU" sz="1200" kern="1200" dirty="0">
                <a:solidFill>
                  <a:prstClr val="white"/>
                </a:solidFill>
                <a:latin typeface="Arial" panose="020B0604020202020204"/>
                <a:ea typeface="+mn-ea"/>
                <a:cs typeface="+mn-cs"/>
              </a:rPr>
              <a:t>IBM – October 2024</a:t>
            </a:r>
          </a:p>
          <a:p>
            <a:pPr algn="l" defTabSz="802020" rtl="0"/>
            <a:r>
              <a:rPr lang="en-AU" sz="1200" kern="1200" dirty="0">
                <a:solidFill>
                  <a:prstClr val="white"/>
                </a:solidFill>
                <a:latin typeface="Arial" panose="020B0604020202020204"/>
                <a:ea typeface="+mn-ea"/>
                <a:cs typeface="+mn-cs"/>
              </a:rPr>
              <a:t>Ultra Tune – October 2024</a:t>
            </a:r>
          </a:p>
          <a:p>
            <a:pPr algn="l" defTabSz="802020" rtl="0"/>
            <a:r>
              <a:rPr lang="en-AU" sz="1200" kern="1200" dirty="0">
                <a:solidFill>
                  <a:prstClr val="white"/>
                </a:solidFill>
                <a:latin typeface="Arial" panose="020B0604020202020204"/>
                <a:ea typeface="+mn-ea"/>
                <a:cs typeface="+mn-cs"/>
              </a:rPr>
              <a:t>NAB, Vodafone and Microsoft – October 2024</a:t>
            </a:r>
          </a:p>
        </p:txBody>
      </p:sp>
      <p:cxnSp>
        <p:nvCxnSpPr>
          <p:cNvPr id="10" name="Straight Connector 9">
            <a:extLst>
              <a:ext uri="{FF2B5EF4-FFF2-40B4-BE49-F238E27FC236}">
                <a16:creationId xmlns:a16="http://schemas.microsoft.com/office/drawing/2014/main" id="{D0857BD0-8337-F872-D7B9-EEB1F9A2E4D5}"/>
              </a:ext>
            </a:extLst>
          </p:cNvPr>
          <p:cNvCxnSpPr>
            <a:cxnSpLocks/>
          </p:cNvCxnSpPr>
          <p:nvPr/>
        </p:nvCxnSpPr>
        <p:spPr>
          <a:xfrm>
            <a:off x="622300" y="1826780"/>
            <a:ext cx="385321"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67726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26D3F40F-ADBA-1A7F-2EE0-44D050C2B1BA}"/>
              </a:ext>
            </a:extLst>
          </p:cNvPr>
          <p:cNvSpPr txBox="1"/>
          <p:nvPr/>
        </p:nvSpPr>
        <p:spPr>
          <a:xfrm>
            <a:off x="527626" y="2758554"/>
            <a:ext cx="2341534" cy="716460"/>
          </a:xfrm>
          <a:prstGeom prst="rect">
            <a:avLst/>
          </a:prstGeom>
          <a:noFill/>
        </p:spPr>
        <p:txBody>
          <a:bodyPr wrap="square" lIns="80201" tIns="40100" rIns="80201" bIns="40100" anchor="ctr">
            <a:noAutofit/>
          </a:bodyPr>
          <a:lstStyle/>
          <a:p>
            <a:pPr algn="l" defTabSz="601519" rtl="0">
              <a:lnSpc>
                <a:spcPts val="2544"/>
              </a:lnSpc>
              <a:defRPr/>
            </a:pPr>
            <a:r>
              <a:rPr lang="en-US" sz="3508" b="1" kern="1200">
                <a:solidFill>
                  <a:schemeClr val="accent4"/>
                </a:solidFill>
                <a:latin typeface="+mj-lt"/>
                <a:ea typeface="+mn-ea"/>
                <a:cs typeface="+mn-cs"/>
              </a:rPr>
              <a:t>$</a:t>
            </a:r>
            <a:r>
              <a:rPr lang="en-US" sz="3508" b="1">
                <a:solidFill>
                  <a:schemeClr val="accent4"/>
                </a:solidFill>
                <a:latin typeface="+mj-lt"/>
              </a:rPr>
              <a:t>97,200</a:t>
            </a:r>
            <a:endParaRPr lang="en-US" sz="3508" b="1" kern="1200">
              <a:solidFill>
                <a:schemeClr val="accent4"/>
              </a:solidFill>
              <a:latin typeface="+mj-lt"/>
              <a:ea typeface="+mn-ea"/>
              <a:cs typeface="+mn-cs"/>
            </a:endParaRPr>
          </a:p>
        </p:txBody>
      </p:sp>
      <p:sp>
        <p:nvSpPr>
          <p:cNvPr id="18" name="TextBox 17">
            <a:extLst>
              <a:ext uri="{FF2B5EF4-FFF2-40B4-BE49-F238E27FC236}">
                <a16:creationId xmlns:a16="http://schemas.microsoft.com/office/drawing/2014/main" id="{F1E7ADE7-E70A-8B80-4D97-0217E1876A8B}"/>
              </a:ext>
            </a:extLst>
          </p:cNvPr>
          <p:cNvSpPr txBox="1"/>
          <p:nvPr/>
        </p:nvSpPr>
        <p:spPr>
          <a:xfrm>
            <a:off x="527625" y="3392767"/>
            <a:ext cx="2244844" cy="728661"/>
          </a:xfrm>
          <a:prstGeom prst="rect">
            <a:avLst/>
          </a:prstGeom>
          <a:noFill/>
        </p:spPr>
        <p:txBody>
          <a:bodyPr wrap="square" lIns="80201" tIns="40100" rIns="80201" bIns="40100" anchor="t">
            <a:spAutoFit/>
          </a:bodyPr>
          <a:lstStyle/>
          <a:p>
            <a:pPr defTabSz="601519">
              <a:spcBef>
                <a:spcPts val="1184"/>
              </a:spcBef>
              <a:defRPr/>
            </a:pPr>
            <a:r>
              <a:rPr lang="en-US" sz="1403" b="1" kern="1200">
                <a:solidFill>
                  <a:schemeClr val="bg1"/>
                </a:solidFill>
                <a:latin typeface="+mj-lt"/>
                <a:ea typeface="+mn-ea"/>
                <a:cs typeface="+mn-cs"/>
              </a:rPr>
              <a:t>Cybercrime average cost </a:t>
            </a:r>
            <a:r>
              <a:rPr lang="en-US" sz="1403" kern="1200">
                <a:solidFill>
                  <a:schemeClr val="bg1"/>
                </a:solidFill>
                <a:latin typeface="+mj-lt"/>
                <a:ea typeface="+mn-ea"/>
                <a:cs typeface="+mn-cs"/>
              </a:rPr>
              <a:t>for </a:t>
            </a:r>
            <a:r>
              <a:rPr lang="en-US" sz="1403">
                <a:solidFill>
                  <a:schemeClr val="bg1"/>
                </a:solidFill>
                <a:latin typeface="+mj-lt"/>
              </a:rPr>
              <a:t>medium </a:t>
            </a:r>
            <a:r>
              <a:rPr lang="en-US" sz="1403" kern="1200">
                <a:solidFill>
                  <a:schemeClr val="bg1"/>
                </a:solidFill>
                <a:latin typeface="+mj-lt"/>
                <a:ea typeface="+mn-ea"/>
                <a:cs typeface="+mn-cs"/>
              </a:rPr>
              <a:t>businesses</a:t>
            </a:r>
          </a:p>
        </p:txBody>
      </p:sp>
      <p:sp>
        <p:nvSpPr>
          <p:cNvPr id="5" name="TextBox 4">
            <a:extLst>
              <a:ext uri="{FF2B5EF4-FFF2-40B4-BE49-F238E27FC236}">
                <a16:creationId xmlns:a16="http://schemas.microsoft.com/office/drawing/2014/main" id="{1F876572-FE66-6A2F-8BD6-BE461851E0C4}"/>
              </a:ext>
            </a:extLst>
          </p:cNvPr>
          <p:cNvSpPr txBox="1"/>
          <p:nvPr/>
        </p:nvSpPr>
        <p:spPr>
          <a:xfrm>
            <a:off x="595391" y="1186492"/>
            <a:ext cx="5460553" cy="481094"/>
          </a:xfrm>
          <a:prstGeom prst="rect">
            <a:avLst/>
          </a:prstGeom>
          <a:noFill/>
        </p:spPr>
        <p:txBody>
          <a:bodyPr wrap="square" rtlCol="0">
            <a:spAutoFit/>
          </a:bodyPr>
          <a:lstStyle/>
          <a:p>
            <a:pPr algn="l" defTabSz="802020" rtl="0">
              <a:lnSpc>
                <a:spcPct val="90000"/>
              </a:lnSpc>
              <a:defRPr/>
            </a:pPr>
            <a:r>
              <a:rPr lang="en-US" sz="2800" b="1" kern="1200" spc="-44" dirty="0">
                <a:solidFill>
                  <a:schemeClr val="bg1"/>
                </a:solidFill>
                <a:latin typeface="Arial" panose="020B0604020202020204" pitchFamily="34" charset="0"/>
                <a:ea typeface="+mn-ea"/>
                <a:cs typeface="+mn-cs"/>
              </a:rPr>
              <a:t>The real risks of cybercrime</a:t>
            </a:r>
            <a:endParaRPr lang="en-US" sz="2800" kern="1200" spc="-44" dirty="0">
              <a:solidFill>
                <a:schemeClr val="bg1"/>
              </a:solidFill>
              <a:latin typeface="Arial" panose="020B0604020202020204" pitchFamily="34" charset="0"/>
              <a:ea typeface="+mn-ea"/>
              <a:cs typeface="+mn-cs"/>
            </a:endParaRPr>
          </a:p>
        </p:txBody>
      </p:sp>
      <p:cxnSp>
        <p:nvCxnSpPr>
          <p:cNvPr id="7" name="Straight Connector 6">
            <a:extLst>
              <a:ext uri="{FF2B5EF4-FFF2-40B4-BE49-F238E27FC236}">
                <a16:creationId xmlns:a16="http://schemas.microsoft.com/office/drawing/2014/main" id="{7784965D-0F96-62FE-0542-8A9CB1F23053}"/>
              </a:ext>
            </a:extLst>
          </p:cNvPr>
          <p:cNvCxnSpPr>
            <a:cxnSpLocks/>
          </p:cNvCxnSpPr>
          <p:nvPr/>
        </p:nvCxnSpPr>
        <p:spPr>
          <a:xfrm>
            <a:off x="590537" y="4320642"/>
            <a:ext cx="1708163" cy="17167"/>
          </a:xfrm>
          <a:prstGeom prst="line">
            <a:avLst/>
          </a:prstGeom>
          <a:ln>
            <a:solidFill>
              <a:srgbClr val="D0D9E8"/>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9D8D23F5-1B04-6726-E4A9-9207F0F55771}"/>
              </a:ext>
            </a:extLst>
          </p:cNvPr>
          <p:cNvSpPr txBox="1"/>
          <p:nvPr/>
        </p:nvSpPr>
        <p:spPr>
          <a:xfrm>
            <a:off x="527626" y="4502211"/>
            <a:ext cx="2341534" cy="716460"/>
          </a:xfrm>
          <a:prstGeom prst="rect">
            <a:avLst/>
          </a:prstGeom>
          <a:noFill/>
        </p:spPr>
        <p:txBody>
          <a:bodyPr wrap="square" anchor="ctr">
            <a:noAutofit/>
          </a:bodyPr>
          <a:lstStyle/>
          <a:p>
            <a:pPr algn="l" defTabSz="601519" rtl="0">
              <a:lnSpc>
                <a:spcPts val="2544"/>
              </a:lnSpc>
              <a:defRPr/>
            </a:pPr>
            <a:r>
              <a:rPr lang="en-US" sz="3508" b="1" kern="1200">
                <a:solidFill>
                  <a:schemeClr val="accent4"/>
                </a:solidFill>
                <a:latin typeface="+mj-lt"/>
                <a:ea typeface="+mn-ea"/>
                <a:cs typeface="+mn-cs"/>
              </a:rPr>
              <a:t>23%</a:t>
            </a:r>
          </a:p>
        </p:txBody>
      </p:sp>
      <p:sp>
        <p:nvSpPr>
          <p:cNvPr id="11" name="TextBox 10">
            <a:extLst>
              <a:ext uri="{FF2B5EF4-FFF2-40B4-BE49-F238E27FC236}">
                <a16:creationId xmlns:a16="http://schemas.microsoft.com/office/drawing/2014/main" id="{93229608-22BB-7F99-7A89-8247241E79D4}"/>
              </a:ext>
            </a:extLst>
          </p:cNvPr>
          <p:cNvSpPr txBox="1"/>
          <p:nvPr/>
        </p:nvSpPr>
        <p:spPr>
          <a:xfrm>
            <a:off x="527625" y="5062815"/>
            <a:ext cx="2076867" cy="524118"/>
          </a:xfrm>
          <a:prstGeom prst="rect">
            <a:avLst/>
          </a:prstGeom>
          <a:noFill/>
        </p:spPr>
        <p:txBody>
          <a:bodyPr wrap="square">
            <a:spAutoFit/>
          </a:bodyPr>
          <a:lstStyle/>
          <a:p>
            <a:pPr defTabSz="601519">
              <a:spcBef>
                <a:spcPts val="1184"/>
              </a:spcBef>
              <a:defRPr/>
            </a:pPr>
            <a:r>
              <a:rPr lang="en-US" sz="1403" b="1">
                <a:solidFill>
                  <a:schemeClr val="bg1"/>
                </a:solidFill>
                <a:latin typeface="+mj-lt"/>
              </a:rPr>
              <a:t>rise</a:t>
            </a:r>
            <a:r>
              <a:rPr lang="en-US" sz="1403" b="1" kern="1200">
                <a:solidFill>
                  <a:schemeClr val="bg1"/>
                </a:solidFill>
                <a:latin typeface="+mj-lt"/>
                <a:ea typeface="+mn-ea"/>
                <a:cs typeface="+mn-cs"/>
              </a:rPr>
              <a:t> in cybercrime</a:t>
            </a:r>
            <a:br>
              <a:rPr lang="en-US" sz="1403" b="1" kern="1200">
                <a:solidFill>
                  <a:schemeClr val="bg1"/>
                </a:solidFill>
                <a:latin typeface="+mj-lt"/>
                <a:ea typeface="+mn-ea"/>
                <a:cs typeface="+mn-cs"/>
              </a:rPr>
            </a:br>
            <a:r>
              <a:rPr lang="en-US" sz="1403">
                <a:solidFill>
                  <a:schemeClr val="bg1"/>
                </a:solidFill>
                <a:latin typeface="+mj-lt"/>
              </a:rPr>
              <a:t>reports</a:t>
            </a:r>
          </a:p>
        </p:txBody>
      </p:sp>
      <p:sp>
        <p:nvSpPr>
          <p:cNvPr id="12" name="TextBox 11">
            <a:extLst>
              <a:ext uri="{FF2B5EF4-FFF2-40B4-BE49-F238E27FC236}">
                <a16:creationId xmlns:a16="http://schemas.microsoft.com/office/drawing/2014/main" id="{85A64584-444E-B052-BBE8-5455C2CB1B68}"/>
              </a:ext>
            </a:extLst>
          </p:cNvPr>
          <p:cNvSpPr txBox="1"/>
          <p:nvPr/>
        </p:nvSpPr>
        <p:spPr>
          <a:xfrm>
            <a:off x="1342980" y="6452033"/>
            <a:ext cx="5346700" cy="200376"/>
          </a:xfrm>
          <a:prstGeom prst="rect">
            <a:avLst/>
          </a:prstGeom>
          <a:noFill/>
        </p:spPr>
        <p:txBody>
          <a:bodyPr wrap="square">
            <a:spAutoFit/>
          </a:bodyPr>
          <a:lstStyle>
            <a:defPPr>
              <a:defRPr lang="en-US"/>
            </a:defPPr>
            <a:lvl1pPr marR="0" lvl="0" indent="0" fontAlgn="auto">
              <a:lnSpc>
                <a:spcPct val="107000"/>
              </a:lnSpc>
              <a:spcBef>
                <a:spcPts val="0"/>
              </a:spcBef>
              <a:spcAft>
                <a:spcPts val="800"/>
              </a:spcAft>
              <a:buClrTx/>
              <a:buSzTx/>
              <a:buFontTx/>
              <a:buNone/>
              <a:tabLst/>
              <a:defRPr kumimoji="0" sz="600" b="0" i="0" u="none" strike="noStrike" cap="none" spc="0" normalizeH="0" baseline="0">
                <a:ln>
                  <a:noFill/>
                </a:ln>
                <a:solidFill>
                  <a:prstClr val="black">
                    <a:lumMod val="50000"/>
                    <a:lumOff val="50000"/>
                  </a:prstClr>
                </a:solidFill>
                <a:effectLst/>
                <a:uLnTx/>
                <a:uFillTx/>
                <a:latin typeface="Verdana" panose="020B0604030504040204" pitchFamily="34" charset="0"/>
              </a:defRPr>
            </a:lvl1pPr>
          </a:lstStyle>
          <a:p>
            <a:pPr algn="l" defTabSz="802020" rtl="0">
              <a:lnSpc>
                <a:spcPct val="100000"/>
              </a:lnSpc>
              <a:spcAft>
                <a:spcPts val="0"/>
              </a:spcAft>
              <a:defRPr/>
            </a:pPr>
            <a:r>
              <a:rPr lang="en-US" sz="702" kern="1200">
                <a:solidFill>
                  <a:schemeClr val="bg1"/>
                </a:solidFill>
                <a:latin typeface="+mj-lt"/>
                <a:ea typeface="+mn-ea"/>
                <a:cs typeface="+mn-cs"/>
              </a:rPr>
              <a:t>ASD Cyber Threat Report 2022-2023</a:t>
            </a:r>
          </a:p>
        </p:txBody>
      </p:sp>
      <p:grpSp>
        <p:nvGrpSpPr>
          <p:cNvPr id="48" name="Group 47">
            <a:extLst>
              <a:ext uri="{FF2B5EF4-FFF2-40B4-BE49-F238E27FC236}">
                <a16:creationId xmlns:a16="http://schemas.microsoft.com/office/drawing/2014/main" id="{984D79B2-EA10-128C-8501-E7A3536FAF0D}"/>
              </a:ext>
            </a:extLst>
          </p:cNvPr>
          <p:cNvGrpSpPr/>
          <p:nvPr/>
        </p:nvGrpSpPr>
        <p:grpSpPr>
          <a:xfrm>
            <a:off x="590538" y="5708970"/>
            <a:ext cx="2089556" cy="131032"/>
            <a:chOff x="5673365" y="1625976"/>
            <a:chExt cx="2382392" cy="149395"/>
          </a:xfrm>
        </p:grpSpPr>
        <p:sp>
          <p:nvSpPr>
            <p:cNvPr id="49" name="Rectangle: Rounded Corners 48">
              <a:extLst>
                <a:ext uri="{FF2B5EF4-FFF2-40B4-BE49-F238E27FC236}">
                  <a16:creationId xmlns:a16="http://schemas.microsoft.com/office/drawing/2014/main" id="{4E21E28D-8EE6-5FC6-ACF7-AE0CDABB7E3F}"/>
                </a:ext>
              </a:extLst>
            </p:cNvPr>
            <p:cNvSpPr/>
            <p:nvPr/>
          </p:nvSpPr>
          <p:spPr>
            <a:xfrm>
              <a:off x="5673365" y="1625976"/>
              <a:ext cx="2382392" cy="149395"/>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schemeClr val="bg1"/>
                </a:solidFill>
                <a:latin typeface="Arial" panose="020B0604020202020204" pitchFamily="34" charset="0"/>
              </a:endParaRPr>
            </a:p>
          </p:txBody>
        </p:sp>
        <p:sp>
          <p:nvSpPr>
            <p:cNvPr id="50" name="Rectangle: Rounded Corners 49">
              <a:extLst>
                <a:ext uri="{FF2B5EF4-FFF2-40B4-BE49-F238E27FC236}">
                  <a16:creationId xmlns:a16="http://schemas.microsoft.com/office/drawing/2014/main" id="{0A528F4A-AB58-43E8-3143-2E99624B6456}"/>
                </a:ext>
              </a:extLst>
            </p:cNvPr>
            <p:cNvSpPr/>
            <p:nvPr/>
          </p:nvSpPr>
          <p:spPr>
            <a:xfrm>
              <a:off x="5673366" y="1625976"/>
              <a:ext cx="576000" cy="149395"/>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Arial" panose="020B0604020202020204" pitchFamily="34" charset="0"/>
              </a:endParaRPr>
            </a:p>
          </p:txBody>
        </p:sp>
      </p:grpSp>
      <p:grpSp>
        <p:nvGrpSpPr>
          <p:cNvPr id="36" name="Group 35">
            <a:extLst>
              <a:ext uri="{FF2B5EF4-FFF2-40B4-BE49-F238E27FC236}">
                <a16:creationId xmlns:a16="http://schemas.microsoft.com/office/drawing/2014/main" id="{75D9A768-427C-FD71-89C8-BFC969E942E1}"/>
              </a:ext>
            </a:extLst>
          </p:cNvPr>
          <p:cNvGrpSpPr/>
          <p:nvPr/>
        </p:nvGrpSpPr>
        <p:grpSpPr>
          <a:xfrm>
            <a:off x="2688454" y="2496072"/>
            <a:ext cx="3473717" cy="3486057"/>
            <a:chOff x="3910855" y="1627948"/>
            <a:chExt cx="4370290" cy="4385816"/>
          </a:xfrm>
        </p:grpSpPr>
        <p:grpSp>
          <p:nvGrpSpPr>
            <p:cNvPr id="31" name="Group 30">
              <a:extLst>
                <a:ext uri="{FF2B5EF4-FFF2-40B4-BE49-F238E27FC236}">
                  <a16:creationId xmlns:a16="http://schemas.microsoft.com/office/drawing/2014/main" id="{A13D8596-E01F-8C9C-BFFE-853CBAE0AB3C}"/>
                </a:ext>
              </a:extLst>
            </p:cNvPr>
            <p:cNvGrpSpPr/>
            <p:nvPr/>
          </p:nvGrpSpPr>
          <p:grpSpPr>
            <a:xfrm>
              <a:off x="3910855" y="1627948"/>
              <a:ext cx="4370290" cy="4385816"/>
              <a:chOff x="4785284" y="1817757"/>
              <a:chExt cx="3474548" cy="3486892"/>
            </a:xfrm>
          </p:grpSpPr>
          <p:grpSp>
            <p:nvGrpSpPr>
              <p:cNvPr id="13" name="Group 12">
                <a:extLst>
                  <a:ext uri="{FF2B5EF4-FFF2-40B4-BE49-F238E27FC236}">
                    <a16:creationId xmlns:a16="http://schemas.microsoft.com/office/drawing/2014/main" id="{9DFDDF64-C1D2-6B46-7427-BAD01707DA31}"/>
                  </a:ext>
                </a:extLst>
              </p:cNvPr>
              <p:cNvGrpSpPr/>
              <p:nvPr/>
            </p:nvGrpSpPr>
            <p:grpSpPr>
              <a:xfrm>
                <a:off x="5107902" y="1817757"/>
                <a:ext cx="2830441" cy="1220722"/>
                <a:chOff x="5107902" y="1817757"/>
                <a:chExt cx="2830441" cy="1220722"/>
              </a:xfrm>
            </p:grpSpPr>
            <p:sp>
              <p:nvSpPr>
                <p:cNvPr id="14" name="Freeform: Shape 13">
                  <a:extLst>
                    <a:ext uri="{FF2B5EF4-FFF2-40B4-BE49-F238E27FC236}">
                      <a16:creationId xmlns:a16="http://schemas.microsoft.com/office/drawing/2014/main" id="{85D6A5CE-291D-96A6-0A22-5D4DB490234F}"/>
                    </a:ext>
                  </a:extLst>
                </p:cNvPr>
                <p:cNvSpPr/>
                <p:nvPr/>
              </p:nvSpPr>
              <p:spPr>
                <a:xfrm>
                  <a:off x="5107902" y="1817757"/>
                  <a:ext cx="2830441" cy="1220722"/>
                </a:xfrm>
                <a:custGeom>
                  <a:avLst/>
                  <a:gdLst>
                    <a:gd name="connsiteX0" fmla="*/ 70272 w 3064952"/>
                    <a:gd name="connsiteY0" fmla="*/ 956428 h 1321863"/>
                    <a:gd name="connsiteX1" fmla="*/ 18804 w 3064952"/>
                    <a:gd name="connsiteY1" fmla="*/ 764663 h 1321863"/>
                    <a:gd name="connsiteX2" fmla="*/ 27949 w 3064952"/>
                    <a:gd name="connsiteY2" fmla="*/ 750779 h 1321863"/>
                    <a:gd name="connsiteX3" fmla="*/ 2472257 w 3064952"/>
                    <a:gd name="connsiteY3" fmla="*/ 252243 h 1321863"/>
                    <a:gd name="connsiteX4" fmla="*/ 3038399 w 3064952"/>
                    <a:gd name="connsiteY4" fmla="*/ 752192 h 1321863"/>
                    <a:gd name="connsiteX5" fmla="*/ 3007015 w 3064952"/>
                    <a:gd name="connsiteY5" fmla="*/ 947573 h 1321863"/>
                    <a:gd name="connsiteX6" fmla="*/ 2994506 w 3064952"/>
                    <a:gd name="connsiteY6" fmla="*/ 955643 h 1321863"/>
                    <a:gd name="connsiteX7" fmla="*/ 2392949 w 3064952"/>
                    <a:gd name="connsiteY7" fmla="*/ 1302788 h 1321863"/>
                    <a:gd name="connsiteX8" fmla="*/ 2218552 w 3064952"/>
                    <a:gd name="connsiteY8" fmla="*/ 1275305 h 1321863"/>
                    <a:gd name="connsiteX9" fmla="*/ 926104 w 3064952"/>
                    <a:gd name="connsiteY9" fmla="*/ 1193620 h 1321863"/>
                    <a:gd name="connsiteX10" fmla="*/ 844419 w 3064952"/>
                    <a:gd name="connsiteY10" fmla="*/ 1275305 h 1321863"/>
                    <a:gd name="connsiteX11" fmla="*/ 670101 w 3064952"/>
                    <a:gd name="connsiteY11" fmla="*/ 1302866 h 132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64952" h="1321863">
                      <a:moveTo>
                        <a:pt x="70272" y="956428"/>
                      </a:moveTo>
                      <a:cubicBezTo>
                        <a:pt x="3105" y="917686"/>
                        <a:pt x="-19938" y="831830"/>
                        <a:pt x="18804" y="764663"/>
                      </a:cubicBezTo>
                      <a:cubicBezTo>
                        <a:pt x="21576" y="759858"/>
                        <a:pt x="24629" y="755222"/>
                        <a:pt x="27949" y="750779"/>
                      </a:cubicBezTo>
                      <a:cubicBezTo>
                        <a:pt x="599548" y="-9397"/>
                        <a:pt x="1648610" y="-223361"/>
                        <a:pt x="2472257" y="252243"/>
                      </a:cubicBezTo>
                      <a:cubicBezTo>
                        <a:pt x="2707115" y="387772"/>
                        <a:pt x="2887716" y="546386"/>
                        <a:pt x="3038399" y="752192"/>
                      </a:cubicBezTo>
                      <a:cubicBezTo>
                        <a:pt x="3083686" y="814812"/>
                        <a:pt x="3069634" y="902287"/>
                        <a:pt x="3007015" y="947573"/>
                      </a:cubicBezTo>
                      <a:cubicBezTo>
                        <a:pt x="3002991" y="950483"/>
                        <a:pt x="2998816" y="953177"/>
                        <a:pt x="2994506" y="955643"/>
                      </a:cubicBezTo>
                      <a:lnTo>
                        <a:pt x="2392949" y="1302788"/>
                      </a:lnTo>
                      <a:cubicBezTo>
                        <a:pt x="2335668" y="1336211"/>
                        <a:pt x="2262778" y="1324725"/>
                        <a:pt x="2218552" y="1275305"/>
                      </a:cubicBezTo>
                      <a:cubicBezTo>
                        <a:pt x="1884209" y="895849"/>
                        <a:pt x="1305561" y="859277"/>
                        <a:pt x="926104" y="1193620"/>
                      </a:cubicBezTo>
                      <a:cubicBezTo>
                        <a:pt x="897184" y="1219102"/>
                        <a:pt x="869901" y="1246385"/>
                        <a:pt x="844419" y="1275305"/>
                      </a:cubicBezTo>
                      <a:cubicBezTo>
                        <a:pt x="800240" y="1324739"/>
                        <a:pt x="727376" y="1336259"/>
                        <a:pt x="670101" y="1302866"/>
                      </a:cubicBezTo>
                      <a:close/>
                    </a:path>
                  </a:pathLst>
                </a:custGeom>
                <a:solidFill>
                  <a:schemeClr val="accent3"/>
                </a:solidFill>
                <a:ln w="7835" cap="flat">
                  <a:noFill/>
                  <a:prstDash val="solid"/>
                  <a:miter/>
                </a:ln>
              </p:spPr>
              <p:txBody>
                <a:bodyPr rtlCol="0" anchor="ctr"/>
                <a:lstStyle/>
                <a:p>
                  <a:endParaRPr lang="en-US">
                    <a:solidFill>
                      <a:schemeClr val="bg1"/>
                    </a:solidFill>
                  </a:endParaRPr>
                </a:p>
              </p:txBody>
            </p:sp>
            <p:sp>
              <p:nvSpPr>
                <p:cNvPr id="17" name="Title 2">
                  <a:extLst>
                    <a:ext uri="{FF2B5EF4-FFF2-40B4-BE49-F238E27FC236}">
                      <a16:creationId xmlns:a16="http://schemas.microsoft.com/office/drawing/2014/main" id="{F0A0DD1D-5B64-9893-51D3-9DEF9C6C2252}"/>
                    </a:ext>
                  </a:extLst>
                </p:cNvPr>
                <p:cNvSpPr txBox="1">
                  <a:spLocks/>
                </p:cNvSpPr>
                <p:nvPr/>
              </p:nvSpPr>
              <p:spPr bwMode="auto">
                <a:xfrm>
                  <a:off x="5830050" y="2071708"/>
                  <a:ext cx="1484157" cy="51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lnSpc>
                      <a:spcPct val="90000"/>
                    </a:lnSpc>
                    <a:spcBef>
                      <a:spcPct val="0"/>
                    </a:spcBef>
                    <a:spcAft>
                      <a:spcPct val="0"/>
                    </a:spcAft>
                    <a:defRPr sz="2550" b="1" kern="1200" cap="none" baseline="0">
                      <a:solidFill>
                        <a:schemeClr val="bg1"/>
                      </a:solidFill>
                      <a:latin typeface="Arial"/>
                      <a:ea typeface="ＭＳ Ｐゴシック" charset="0"/>
                      <a:cs typeface="Arial"/>
                    </a:defRPr>
                  </a:lvl1pPr>
                  <a:lvl2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2pPr>
                  <a:lvl3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3pPr>
                  <a:lvl4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4pPr>
                  <a:lvl5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5pPr>
                  <a:lvl6pPr marL="3429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6pPr>
                  <a:lvl7pPr marL="6858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7pPr>
                  <a:lvl8pPr marL="10287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8pPr>
                  <a:lvl9pPr marL="13716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9pPr>
                </a:lstStyle>
                <a:p>
                  <a:pPr algn="ctr"/>
                  <a:r>
                    <a:rPr lang="en-US" sz="1228" b="0" dirty="0">
                      <a:latin typeface="+mj-lt"/>
                    </a:rPr>
                    <a:t>Business</a:t>
                  </a:r>
                  <a:br>
                    <a:rPr lang="en-US" sz="1228" b="0" dirty="0">
                      <a:latin typeface="+mj-lt"/>
                    </a:rPr>
                  </a:br>
                  <a:r>
                    <a:rPr lang="en-US" sz="1228" b="0" dirty="0">
                      <a:latin typeface="+mj-lt"/>
                    </a:rPr>
                    <a:t>email compromise</a:t>
                  </a:r>
                  <a:br>
                    <a:rPr lang="en-US" sz="1228" b="0" dirty="0">
                      <a:latin typeface="+mj-lt"/>
                    </a:rPr>
                  </a:br>
                  <a:r>
                    <a:rPr lang="en-US" sz="1228" b="0" dirty="0">
                      <a:latin typeface="+mj-lt"/>
                    </a:rPr>
                    <a:t>(BEC)</a:t>
                  </a:r>
                </a:p>
              </p:txBody>
            </p:sp>
          </p:grpSp>
          <p:grpSp>
            <p:nvGrpSpPr>
              <p:cNvPr id="22" name="Group 21">
                <a:extLst>
                  <a:ext uri="{FF2B5EF4-FFF2-40B4-BE49-F238E27FC236}">
                    <a16:creationId xmlns:a16="http://schemas.microsoft.com/office/drawing/2014/main" id="{F6C33813-E4FE-B67C-F05E-C2175E1CDF26}"/>
                  </a:ext>
                </a:extLst>
              </p:cNvPr>
              <p:cNvGrpSpPr/>
              <p:nvPr/>
            </p:nvGrpSpPr>
            <p:grpSpPr>
              <a:xfrm>
                <a:off x="4785284" y="2794955"/>
                <a:ext cx="1672314" cy="2485871"/>
                <a:chOff x="4785284" y="2794955"/>
                <a:chExt cx="1672314" cy="2485871"/>
              </a:xfrm>
            </p:grpSpPr>
            <p:sp>
              <p:nvSpPr>
                <p:cNvPr id="23" name="Freeform: Shape 22">
                  <a:extLst>
                    <a:ext uri="{FF2B5EF4-FFF2-40B4-BE49-F238E27FC236}">
                      <a16:creationId xmlns:a16="http://schemas.microsoft.com/office/drawing/2014/main" id="{D09169CA-FABB-57CC-5820-44BE5AD6EE6D}"/>
                    </a:ext>
                  </a:extLst>
                </p:cNvPr>
                <p:cNvSpPr/>
                <p:nvPr/>
              </p:nvSpPr>
              <p:spPr>
                <a:xfrm>
                  <a:off x="4785284" y="2794955"/>
                  <a:ext cx="1672314" cy="2485871"/>
                </a:xfrm>
                <a:custGeom>
                  <a:avLst/>
                  <a:gdLst>
                    <a:gd name="connsiteX0" fmla="*/ 0 w 1810871"/>
                    <a:gd name="connsiteY0" fmla="*/ 823097 h 2691833"/>
                    <a:gd name="connsiteX1" fmla="*/ 149977 w 1810871"/>
                    <a:gd name="connsiteY1" fmla="*/ 82792 h 2691833"/>
                    <a:gd name="connsiteX2" fmla="*/ 334860 w 1810871"/>
                    <a:gd name="connsiteY2" fmla="*/ 12246 h 2691833"/>
                    <a:gd name="connsiteX3" fmla="*/ 348087 w 1810871"/>
                    <a:gd name="connsiteY3" fmla="*/ 19032 h 2691833"/>
                    <a:gd name="connsiteX4" fmla="*/ 950115 w 1810871"/>
                    <a:gd name="connsiteY4" fmla="*/ 366727 h 2691833"/>
                    <a:gd name="connsiteX5" fmla="*/ 1011754 w 1810871"/>
                    <a:gd name="connsiteY5" fmla="*/ 533115 h 2691833"/>
                    <a:gd name="connsiteX6" fmla="*/ 1592338 w 1810871"/>
                    <a:gd name="connsiteY6" fmla="*/ 1692818 h 2691833"/>
                    <a:gd name="connsiteX7" fmla="*/ 1696701 w 1810871"/>
                    <a:gd name="connsiteY7" fmla="*/ 1720837 h 2691833"/>
                    <a:gd name="connsiteX8" fmla="*/ 1810872 w 1810871"/>
                    <a:gd name="connsiteY8" fmla="*/ 1858722 h 2691833"/>
                    <a:gd name="connsiteX9" fmla="*/ 1810872 w 1810871"/>
                    <a:gd name="connsiteY9" fmla="*/ 2551363 h 2691833"/>
                    <a:gd name="connsiteX10" fmla="*/ 1671019 w 1810871"/>
                    <a:gd name="connsiteY10" fmla="*/ 2691833 h 2691833"/>
                    <a:gd name="connsiteX11" fmla="*/ 1654535 w 1810871"/>
                    <a:gd name="connsiteY11" fmla="*/ 2690897 h 2691833"/>
                    <a:gd name="connsiteX12" fmla="*/ 0 w 1810871"/>
                    <a:gd name="connsiteY12" fmla="*/ 823097 h 269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0871" h="2691833">
                      <a:moveTo>
                        <a:pt x="0" y="823097"/>
                      </a:moveTo>
                      <a:cubicBezTo>
                        <a:pt x="0" y="551882"/>
                        <a:pt x="47113" y="316159"/>
                        <a:pt x="149977" y="82792"/>
                      </a:cubicBezTo>
                      <a:cubicBezTo>
                        <a:pt x="181550" y="12257"/>
                        <a:pt x="264325" y="-19327"/>
                        <a:pt x="334860" y="12246"/>
                      </a:cubicBezTo>
                      <a:cubicBezTo>
                        <a:pt x="339386" y="14272"/>
                        <a:pt x="343802" y="16537"/>
                        <a:pt x="348087" y="19032"/>
                      </a:cubicBezTo>
                      <a:lnTo>
                        <a:pt x="950115" y="366727"/>
                      </a:lnTo>
                      <a:cubicBezTo>
                        <a:pt x="1007671" y="400428"/>
                        <a:pt x="1033463" y="470051"/>
                        <a:pt x="1011754" y="533115"/>
                      </a:cubicBezTo>
                      <a:cubicBezTo>
                        <a:pt x="851835" y="1013682"/>
                        <a:pt x="1111771" y="1532899"/>
                        <a:pt x="1592338" y="1692818"/>
                      </a:cubicBezTo>
                      <a:cubicBezTo>
                        <a:pt x="1626545" y="1704201"/>
                        <a:pt x="1661393" y="1713557"/>
                        <a:pt x="1696701" y="1720837"/>
                      </a:cubicBezTo>
                      <a:cubicBezTo>
                        <a:pt x="1762724" y="1733769"/>
                        <a:pt x="1810481" y="1791445"/>
                        <a:pt x="1810872" y="1858722"/>
                      </a:cubicBezTo>
                      <a:lnTo>
                        <a:pt x="1810872" y="2551363"/>
                      </a:lnTo>
                      <a:cubicBezTo>
                        <a:pt x="1811042" y="2628772"/>
                        <a:pt x="1748428" y="2691663"/>
                        <a:pt x="1671019" y="2691833"/>
                      </a:cubicBezTo>
                      <a:cubicBezTo>
                        <a:pt x="1665510" y="2691845"/>
                        <a:pt x="1660006" y="2691532"/>
                        <a:pt x="1654535" y="2690897"/>
                      </a:cubicBezTo>
                      <a:cubicBezTo>
                        <a:pt x="723658" y="2578297"/>
                        <a:pt x="0" y="1783655"/>
                        <a:pt x="0" y="823097"/>
                      </a:cubicBezTo>
                      <a:close/>
                    </a:path>
                  </a:pathLst>
                </a:custGeom>
                <a:solidFill>
                  <a:schemeClr val="accent3"/>
                </a:solidFill>
                <a:ln w="7835" cap="flat">
                  <a:noFill/>
                  <a:prstDash val="solid"/>
                  <a:miter/>
                </a:ln>
              </p:spPr>
              <p:txBody>
                <a:bodyPr rtlCol="0" anchor="ctr"/>
                <a:lstStyle/>
                <a:p>
                  <a:endParaRPr lang="en-US">
                    <a:solidFill>
                      <a:schemeClr val="bg1"/>
                    </a:solidFill>
                  </a:endParaRPr>
                </a:p>
              </p:txBody>
            </p:sp>
            <p:sp>
              <p:nvSpPr>
                <p:cNvPr id="24" name="Title 2">
                  <a:extLst>
                    <a:ext uri="{FF2B5EF4-FFF2-40B4-BE49-F238E27FC236}">
                      <a16:creationId xmlns:a16="http://schemas.microsoft.com/office/drawing/2014/main" id="{3A39A062-B21F-3299-1B81-066FA8791CB7}"/>
                    </a:ext>
                  </a:extLst>
                </p:cNvPr>
                <p:cNvSpPr txBox="1">
                  <a:spLocks/>
                </p:cNvSpPr>
                <p:nvPr/>
              </p:nvSpPr>
              <p:spPr bwMode="auto">
                <a:xfrm>
                  <a:off x="4874327" y="3950447"/>
                  <a:ext cx="1028742" cy="340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lnSpc>
                      <a:spcPct val="90000"/>
                    </a:lnSpc>
                    <a:spcBef>
                      <a:spcPct val="0"/>
                    </a:spcBef>
                    <a:spcAft>
                      <a:spcPct val="0"/>
                    </a:spcAft>
                    <a:defRPr sz="2550" b="1" kern="1200" cap="none" baseline="0">
                      <a:solidFill>
                        <a:schemeClr val="bg1"/>
                      </a:solidFill>
                      <a:latin typeface="Arial"/>
                      <a:ea typeface="ＭＳ Ｐゴシック" charset="0"/>
                      <a:cs typeface="Arial"/>
                    </a:defRPr>
                  </a:lvl1pPr>
                  <a:lvl2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2pPr>
                  <a:lvl3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3pPr>
                  <a:lvl4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4pPr>
                  <a:lvl5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5pPr>
                  <a:lvl6pPr marL="3429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6pPr>
                  <a:lvl7pPr marL="6858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7pPr>
                  <a:lvl8pPr marL="10287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8pPr>
                  <a:lvl9pPr marL="13716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9pPr>
                </a:lstStyle>
                <a:p>
                  <a:pPr algn="ctr"/>
                  <a:r>
                    <a:rPr lang="en-US" sz="1228" b="0">
                      <a:latin typeface="+mj-lt"/>
                    </a:rPr>
                    <a:t>Email compromise</a:t>
                  </a:r>
                </a:p>
              </p:txBody>
            </p:sp>
          </p:grpSp>
          <p:grpSp>
            <p:nvGrpSpPr>
              <p:cNvPr id="26" name="Group 25">
                <a:extLst>
                  <a:ext uri="{FF2B5EF4-FFF2-40B4-BE49-F238E27FC236}">
                    <a16:creationId xmlns:a16="http://schemas.microsoft.com/office/drawing/2014/main" id="{6B185D88-A9A6-6950-311A-1F4466080553}"/>
                  </a:ext>
                </a:extLst>
              </p:cNvPr>
              <p:cNvGrpSpPr/>
              <p:nvPr/>
            </p:nvGrpSpPr>
            <p:grpSpPr>
              <a:xfrm>
                <a:off x="6587252" y="2818439"/>
                <a:ext cx="1672580" cy="2486210"/>
                <a:chOff x="6587252" y="2818439"/>
                <a:chExt cx="1672580" cy="2486210"/>
              </a:xfrm>
            </p:grpSpPr>
            <p:sp>
              <p:nvSpPr>
                <p:cNvPr id="27" name="Freeform: Shape 26">
                  <a:extLst>
                    <a:ext uri="{FF2B5EF4-FFF2-40B4-BE49-F238E27FC236}">
                      <a16:creationId xmlns:a16="http://schemas.microsoft.com/office/drawing/2014/main" id="{20A7E86E-1DDB-29AB-853B-003F4E6FA078}"/>
                    </a:ext>
                  </a:extLst>
                </p:cNvPr>
                <p:cNvSpPr/>
                <p:nvPr/>
              </p:nvSpPr>
              <p:spPr>
                <a:xfrm>
                  <a:off x="6587252" y="2818439"/>
                  <a:ext cx="1672580" cy="2486210"/>
                </a:xfrm>
                <a:custGeom>
                  <a:avLst/>
                  <a:gdLst>
                    <a:gd name="connsiteX0" fmla="*/ 1 w 1811159"/>
                    <a:gd name="connsiteY0" fmla="*/ 2551768 h 2692200"/>
                    <a:gd name="connsiteX1" fmla="*/ 1 w 1811159"/>
                    <a:gd name="connsiteY1" fmla="*/ 1857320 h 2692200"/>
                    <a:gd name="connsiteX2" fmla="*/ 114250 w 1811159"/>
                    <a:gd name="connsiteY2" fmla="*/ 1719435 h 2692200"/>
                    <a:gd name="connsiteX3" fmla="*/ 826844 w 1811159"/>
                    <a:gd name="connsiteY3" fmla="*/ 636230 h 2692200"/>
                    <a:gd name="connsiteX4" fmla="*/ 798882 w 1811159"/>
                    <a:gd name="connsiteY4" fmla="*/ 532106 h 2692200"/>
                    <a:gd name="connsiteX5" fmla="*/ 860600 w 1811159"/>
                    <a:gd name="connsiteY5" fmla="*/ 365718 h 2692200"/>
                    <a:gd name="connsiteX6" fmla="*/ 1461450 w 1811159"/>
                    <a:gd name="connsiteY6" fmla="*/ 18887 h 2692200"/>
                    <a:gd name="connsiteX7" fmla="*/ 1653275 w 1811159"/>
                    <a:gd name="connsiteY7" fmla="*/ 70129 h 2692200"/>
                    <a:gd name="connsiteX8" fmla="*/ 1660739 w 1811159"/>
                    <a:gd name="connsiteY8" fmla="*/ 85002 h 2692200"/>
                    <a:gd name="connsiteX9" fmla="*/ 870337 w 1811159"/>
                    <a:gd name="connsiteY9" fmla="*/ 2451103 h 2692200"/>
                    <a:gd name="connsiteX10" fmla="*/ 154296 w 1811159"/>
                    <a:gd name="connsiteY10" fmla="*/ 2691458 h 2692200"/>
                    <a:gd name="connsiteX11" fmla="*/ 731 w 1811159"/>
                    <a:gd name="connsiteY11" fmla="*/ 2566477 h 2692200"/>
                    <a:gd name="connsiteX12" fmla="*/ 1 w 1811159"/>
                    <a:gd name="connsiteY12" fmla="*/ 2551768 h 26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1159" h="2692200">
                      <a:moveTo>
                        <a:pt x="1" y="2551768"/>
                      </a:moveTo>
                      <a:lnTo>
                        <a:pt x="1" y="1857320"/>
                      </a:lnTo>
                      <a:cubicBezTo>
                        <a:pt x="398" y="1790019"/>
                        <a:pt x="48196" y="1732334"/>
                        <a:pt x="114250" y="1719435"/>
                      </a:cubicBezTo>
                      <a:cubicBezTo>
                        <a:pt x="610146" y="1617094"/>
                        <a:pt x="929185" y="1132127"/>
                        <a:pt x="826844" y="636230"/>
                      </a:cubicBezTo>
                      <a:cubicBezTo>
                        <a:pt x="819574" y="601004"/>
                        <a:pt x="810237" y="566235"/>
                        <a:pt x="798882" y="532106"/>
                      </a:cubicBezTo>
                      <a:cubicBezTo>
                        <a:pt x="777252" y="469023"/>
                        <a:pt x="803064" y="399436"/>
                        <a:pt x="860600" y="365718"/>
                      </a:cubicBezTo>
                      <a:lnTo>
                        <a:pt x="1461450" y="18887"/>
                      </a:lnTo>
                      <a:cubicBezTo>
                        <a:pt x="1528571" y="-19934"/>
                        <a:pt x="1614454" y="3008"/>
                        <a:pt x="1653275" y="70129"/>
                      </a:cubicBezTo>
                      <a:cubicBezTo>
                        <a:pt x="1656055" y="74935"/>
                        <a:pt x="1658547" y="79901"/>
                        <a:pt x="1660739" y="85002"/>
                      </a:cubicBezTo>
                      <a:cubicBezTo>
                        <a:pt x="2032971" y="960120"/>
                        <a:pt x="1693810" y="1975413"/>
                        <a:pt x="870337" y="2451103"/>
                      </a:cubicBezTo>
                      <a:cubicBezTo>
                        <a:pt x="635557" y="2586710"/>
                        <a:pt x="407922" y="2663818"/>
                        <a:pt x="154296" y="2691458"/>
                      </a:cubicBezTo>
                      <a:cubicBezTo>
                        <a:pt x="77378" y="2699351"/>
                        <a:pt x="8624" y="2643395"/>
                        <a:pt x="731" y="2566477"/>
                      </a:cubicBezTo>
                      <a:cubicBezTo>
                        <a:pt x="230" y="2561590"/>
                        <a:pt x="-14" y="2556680"/>
                        <a:pt x="1" y="2551768"/>
                      </a:cubicBezTo>
                      <a:close/>
                    </a:path>
                  </a:pathLst>
                </a:custGeom>
                <a:solidFill>
                  <a:schemeClr val="accent3"/>
                </a:solidFill>
                <a:ln w="7835" cap="flat">
                  <a:noFill/>
                  <a:prstDash val="solid"/>
                  <a:miter/>
                </a:ln>
              </p:spPr>
              <p:txBody>
                <a:bodyPr rtlCol="0" anchor="ctr"/>
                <a:lstStyle/>
                <a:p>
                  <a:endParaRPr lang="en-US">
                    <a:solidFill>
                      <a:schemeClr val="bg1"/>
                    </a:solidFill>
                  </a:endParaRPr>
                </a:p>
              </p:txBody>
            </p:sp>
            <p:sp>
              <p:nvSpPr>
                <p:cNvPr id="28" name="Title 2">
                  <a:extLst>
                    <a:ext uri="{FF2B5EF4-FFF2-40B4-BE49-F238E27FC236}">
                      <a16:creationId xmlns:a16="http://schemas.microsoft.com/office/drawing/2014/main" id="{E650319E-6476-1D7C-D1D4-732D260F32C3}"/>
                    </a:ext>
                  </a:extLst>
                </p:cNvPr>
                <p:cNvSpPr txBox="1">
                  <a:spLocks/>
                </p:cNvSpPr>
                <p:nvPr/>
              </p:nvSpPr>
              <p:spPr bwMode="auto">
                <a:xfrm>
                  <a:off x="7160106" y="3830469"/>
                  <a:ext cx="1034260" cy="51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342900" rtl="0" eaLnBrk="1" fontAlgn="base" hangingPunct="1">
                    <a:lnSpc>
                      <a:spcPct val="90000"/>
                    </a:lnSpc>
                    <a:spcBef>
                      <a:spcPct val="0"/>
                    </a:spcBef>
                    <a:spcAft>
                      <a:spcPct val="0"/>
                    </a:spcAft>
                    <a:defRPr sz="2550" b="1" kern="1200" cap="none" baseline="0">
                      <a:solidFill>
                        <a:schemeClr val="bg1"/>
                      </a:solidFill>
                      <a:latin typeface="Arial"/>
                      <a:ea typeface="ＭＳ Ｐゴシック" charset="0"/>
                      <a:cs typeface="Arial"/>
                    </a:defRPr>
                  </a:lvl1pPr>
                  <a:lvl2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2pPr>
                  <a:lvl3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3pPr>
                  <a:lvl4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4pPr>
                  <a:lvl5pPr algn="l" defTabSz="342900" rtl="0" eaLnBrk="1" fontAlgn="base" hangingPunct="1">
                    <a:spcBef>
                      <a:spcPct val="0"/>
                    </a:spcBef>
                    <a:spcAft>
                      <a:spcPct val="0"/>
                    </a:spcAft>
                    <a:defRPr sz="1800">
                      <a:solidFill>
                        <a:schemeClr val="bg1"/>
                      </a:solidFill>
                      <a:latin typeface="Arial" charset="0"/>
                      <a:ea typeface="ＭＳ Ｐゴシック" charset="0"/>
                      <a:cs typeface="Arial" pitchFamily="34" charset="0"/>
                    </a:defRPr>
                  </a:lvl5pPr>
                  <a:lvl6pPr marL="3429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6pPr>
                  <a:lvl7pPr marL="6858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7pPr>
                  <a:lvl8pPr marL="10287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8pPr>
                  <a:lvl9pPr marL="1371600" algn="l" defTabSz="342900" rtl="0" eaLnBrk="1" fontAlgn="base" hangingPunct="1">
                    <a:spcBef>
                      <a:spcPct val="0"/>
                    </a:spcBef>
                    <a:spcAft>
                      <a:spcPct val="0"/>
                    </a:spcAft>
                    <a:defRPr sz="1800">
                      <a:solidFill>
                        <a:schemeClr val="tx1"/>
                      </a:solidFill>
                      <a:latin typeface="Arial" charset="0"/>
                      <a:ea typeface="ＭＳ Ｐゴシック" charset="0"/>
                      <a:cs typeface="ＭＳ Ｐゴシック" charset="0"/>
                    </a:defRPr>
                  </a:lvl9pPr>
                </a:lstStyle>
                <a:p>
                  <a:pPr algn="ctr"/>
                  <a:r>
                    <a:rPr lang="en-US" sz="1228" b="0">
                      <a:latin typeface="+mj-lt"/>
                    </a:rPr>
                    <a:t>Online</a:t>
                  </a:r>
                  <a:br>
                    <a:rPr lang="en-US" sz="1228" b="0">
                      <a:latin typeface="+mj-lt"/>
                    </a:rPr>
                  </a:br>
                  <a:r>
                    <a:rPr lang="en-US" sz="1228" b="0">
                      <a:latin typeface="+mj-lt"/>
                    </a:rPr>
                    <a:t>banking</a:t>
                  </a:r>
                  <a:br>
                    <a:rPr lang="en-US" sz="1228" b="0">
                      <a:latin typeface="+mj-lt"/>
                    </a:rPr>
                  </a:br>
                  <a:r>
                    <a:rPr lang="en-US" sz="1228" b="0">
                      <a:latin typeface="+mj-lt"/>
                    </a:rPr>
                    <a:t>fraud</a:t>
                  </a:r>
                </a:p>
              </p:txBody>
            </p:sp>
          </p:grpSp>
        </p:grpSp>
        <p:sp>
          <p:nvSpPr>
            <p:cNvPr id="33" name="TextBox 32">
              <a:extLst>
                <a:ext uri="{FF2B5EF4-FFF2-40B4-BE49-F238E27FC236}">
                  <a16:creationId xmlns:a16="http://schemas.microsoft.com/office/drawing/2014/main" id="{A54FDCB6-E1B8-7BDA-F50D-2D8EDFDEB098}"/>
                </a:ext>
              </a:extLst>
            </p:cNvPr>
            <p:cNvSpPr txBox="1"/>
            <p:nvPr/>
          </p:nvSpPr>
          <p:spPr>
            <a:xfrm>
              <a:off x="4891704" y="3167195"/>
              <a:ext cx="2410012" cy="1339116"/>
            </a:xfrm>
            <a:prstGeom prst="rect">
              <a:avLst/>
            </a:prstGeom>
            <a:noFill/>
          </p:spPr>
          <p:txBody>
            <a:bodyPr wrap="square">
              <a:spAutoFit/>
            </a:bodyPr>
            <a:lstStyle/>
            <a:p>
              <a:pPr algn="ctr"/>
              <a:r>
                <a:rPr lang="en-US" sz="1579" b="1" kern="1200">
                  <a:solidFill>
                    <a:schemeClr val="bg1"/>
                  </a:solidFill>
                  <a:latin typeface="+mj-lt"/>
                </a:rPr>
                <a:t>Top 3</a:t>
              </a:r>
              <a:br>
                <a:rPr lang="en-US" sz="1579" b="1" kern="1200">
                  <a:solidFill>
                    <a:schemeClr val="bg1"/>
                  </a:solidFill>
                  <a:latin typeface="+mj-lt"/>
                </a:rPr>
              </a:br>
              <a:r>
                <a:rPr lang="en-US" sz="1579" b="1" kern="1200">
                  <a:solidFill>
                    <a:schemeClr val="bg1"/>
                  </a:solidFill>
                  <a:latin typeface="+mj-lt"/>
                </a:rPr>
                <a:t>cybercrime</a:t>
              </a:r>
              <a:br>
                <a:rPr lang="en-US" sz="1579" b="1" kern="1200">
                  <a:solidFill>
                    <a:schemeClr val="bg1"/>
                  </a:solidFill>
                  <a:latin typeface="+mj-lt"/>
                </a:rPr>
              </a:br>
              <a:r>
                <a:rPr lang="en-US" sz="1579" b="1" kern="1200">
                  <a:solidFill>
                    <a:schemeClr val="bg1"/>
                  </a:solidFill>
                  <a:latin typeface="+mj-lt"/>
                </a:rPr>
                <a:t>types for business:</a:t>
              </a:r>
              <a:endParaRPr lang="en-AU">
                <a:solidFill>
                  <a:schemeClr val="bg1"/>
                </a:solidFill>
                <a:latin typeface="+mj-lt"/>
              </a:endParaRPr>
            </a:p>
          </p:txBody>
        </p:sp>
        <p:pic>
          <p:nvPicPr>
            <p:cNvPr id="4" name="Graphic 3">
              <a:extLst>
                <a:ext uri="{FF2B5EF4-FFF2-40B4-BE49-F238E27FC236}">
                  <a16:creationId xmlns:a16="http://schemas.microsoft.com/office/drawing/2014/main" id="{51C24710-A0F9-60F6-8A6F-5AC1DC3781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86330" y="5121865"/>
              <a:ext cx="489437" cy="489437"/>
            </a:xfrm>
            <a:prstGeom prst="rect">
              <a:avLst/>
            </a:prstGeom>
          </p:spPr>
        </p:pic>
        <p:pic>
          <p:nvPicPr>
            <p:cNvPr id="8" name="Graphic 7">
              <a:extLst>
                <a:ext uri="{FF2B5EF4-FFF2-40B4-BE49-F238E27FC236}">
                  <a16:creationId xmlns:a16="http://schemas.microsoft.com/office/drawing/2014/main" id="{DB27568D-4BDE-1FBA-D78D-CC1405287E3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4601" y="3269159"/>
              <a:ext cx="412713" cy="412713"/>
            </a:xfrm>
            <a:prstGeom prst="rect">
              <a:avLst/>
            </a:prstGeom>
          </p:spPr>
        </p:pic>
        <p:pic>
          <p:nvPicPr>
            <p:cNvPr id="19" name="Graphic 18">
              <a:extLst>
                <a:ext uri="{FF2B5EF4-FFF2-40B4-BE49-F238E27FC236}">
                  <a16:creationId xmlns:a16="http://schemas.microsoft.com/office/drawing/2014/main" id="{74E1303D-8E08-3D4E-7F1E-B7E6DB6774F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12535" y="2367594"/>
              <a:ext cx="500078" cy="500078"/>
            </a:xfrm>
            <a:prstGeom prst="rect">
              <a:avLst/>
            </a:prstGeom>
          </p:spPr>
        </p:pic>
      </p:grpSp>
      <p:cxnSp>
        <p:nvCxnSpPr>
          <p:cNvPr id="2" name="Straight Connector 1">
            <a:extLst>
              <a:ext uri="{FF2B5EF4-FFF2-40B4-BE49-F238E27FC236}">
                <a16:creationId xmlns:a16="http://schemas.microsoft.com/office/drawing/2014/main" id="{1C206493-F32B-0CB7-937E-C1C0A7DE37CA}"/>
              </a:ext>
            </a:extLst>
          </p:cNvPr>
          <p:cNvCxnSpPr>
            <a:cxnSpLocks/>
          </p:cNvCxnSpPr>
          <p:nvPr/>
        </p:nvCxnSpPr>
        <p:spPr>
          <a:xfrm>
            <a:off x="710418" y="1949450"/>
            <a:ext cx="385321"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82081E1-DF77-F69C-D5B1-EF099A674FCE}"/>
              </a:ext>
            </a:extLst>
          </p:cNvPr>
          <p:cNvSpPr txBox="1"/>
          <p:nvPr/>
        </p:nvSpPr>
        <p:spPr>
          <a:xfrm>
            <a:off x="1419922" y="3843564"/>
            <a:ext cx="227948" cy="227306"/>
          </a:xfrm>
          <a:prstGeom prst="rect">
            <a:avLst/>
          </a:prstGeom>
          <a:noFill/>
        </p:spPr>
        <p:txBody>
          <a:bodyPr wrap="none" rtlCol="0">
            <a:spAutoFit/>
          </a:bodyPr>
          <a:lstStyle/>
          <a:p>
            <a:r>
              <a:rPr lang="en-US" sz="877">
                <a:solidFill>
                  <a:schemeClr val="bg1"/>
                </a:solidFill>
              </a:rPr>
              <a:t>*</a:t>
            </a:r>
            <a:endParaRPr lang="en-AU" sz="877">
              <a:solidFill>
                <a:schemeClr val="bg1"/>
              </a:solidFill>
            </a:endParaRPr>
          </a:p>
        </p:txBody>
      </p:sp>
      <p:sp>
        <p:nvSpPr>
          <p:cNvPr id="9" name="TextBox 8">
            <a:extLst>
              <a:ext uri="{FF2B5EF4-FFF2-40B4-BE49-F238E27FC236}">
                <a16:creationId xmlns:a16="http://schemas.microsoft.com/office/drawing/2014/main" id="{7B736881-6A1D-44B0-F529-D0ACEC34A024}"/>
              </a:ext>
            </a:extLst>
          </p:cNvPr>
          <p:cNvSpPr txBox="1"/>
          <p:nvPr/>
        </p:nvSpPr>
        <p:spPr>
          <a:xfrm>
            <a:off x="1084630" y="5286983"/>
            <a:ext cx="227948" cy="227306"/>
          </a:xfrm>
          <a:prstGeom prst="rect">
            <a:avLst/>
          </a:prstGeom>
          <a:noFill/>
        </p:spPr>
        <p:txBody>
          <a:bodyPr wrap="none" rtlCol="0">
            <a:spAutoFit/>
          </a:bodyPr>
          <a:lstStyle/>
          <a:p>
            <a:r>
              <a:rPr lang="en-US" sz="877">
                <a:solidFill>
                  <a:schemeClr val="bg1"/>
                </a:solidFill>
              </a:rPr>
              <a:t>*</a:t>
            </a:r>
            <a:endParaRPr lang="en-AU" sz="877">
              <a:solidFill>
                <a:schemeClr val="bg1"/>
              </a:solidFill>
            </a:endParaRPr>
          </a:p>
        </p:txBody>
      </p:sp>
      <p:sp>
        <p:nvSpPr>
          <p:cNvPr id="15" name="TextBox 14">
            <a:extLst>
              <a:ext uri="{FF2B5EF4-FFF2-40B4-BE49-F238E27FC236}">
                <a16:creationId xmlns:a16="http://schemas.microsoft.com/office/drawing/2014/main" id="{9AD23157-1117-2355-381D-39145648F48A}"/>
              </a:ext>
            </a:extLst>
          </p:cNvPr>
          <p:cNvSpPr txBox="1"/>
          <p:nvPr/>
        </p:nvSpPr>
        <p:spPr>
          <a:xfrm>
            <a:off x="1286472" y="6452033"/>
            <a:ext cx="227948" cy="227306"/>
          </a:xfrm>
          <a:prstGeom prst="rect">
            <a:avLst/>
          </a:prstGeom>
          <a:noFill/>
        </p:spPr>
        <p:txBody>
          <a:bodyPr wrap="none" rtlCol="0">
            <a:spAutoFit/>
          </a:bodyPr>
          <a:lstStyle/>
          <a:p>
            <a:r>
              <a:rPr lang="en-US" sz="877">
                <a:solidFill>
                  <a:schemeClr val="bg1"/>
                </a:solidFill>
              </a:rPr>
              <a:t>*</a:t>
            </a:r>
            <a:endParaRPr lang="en-AU" sz="877">
              <a:solidFill>
                <a:schemeClr val="bg1"/>
              </a:solidFill>
            </a:endParaRPr>
          </a:p>
        </p:txBody>
      </p:sp>
      <p:grpSp>
        <p:nvGrpSpPr>
          <p:cNvPr id="55" name="Group 54">
            <a:extLst>
              <a:ext uri="{FF2B5EF4-FFF2-40B4-BE49-F238E27FC236}">
                <a16:creationId xmlns:a16="http://schemas.microsoft.com/office/drawing/2014/main" id="{F253CF9C-74EB-3324-9ADA-549E56CB9EAA}"/>
              </a:ext>
            </a:extLst>
          </p:cNvPr>
          <p:cNvGrpSpPr/>
          <p:nvPr/>
        </p:nvGrpSpPr>
        <p:grpSpPr>
          <a:xfrm>
            <a:off x="6109533" y="2450874"/>
            <a:ext cx="4426818" cy="3260755"/>
            <a:chOff x="5949082" y="2086522"/>
            <a:chExt cx="5346556" cy="3626857"/>
          </a:xfrm>
        </p:grpSpPr>
        <p:grpSp>
          <p:nvGrpSpPr>
            <p:cNvPr id="20" name="Group 19">
              <a:extLst>
                <a:ext uri="{FF2B5EF4-FFF2-40B4-BE49-F238E27FC236}">
                  <a16:creationId xmlns:a16="http://schemas.microsoft.com/office/drawing/2014/main" id="{76EC4124-D139-766B-76E2-99CBDA49066D}"/>
                </a:ext>
              </a:extLst>
            </p:cNvPr>
            <p:cNvGrpSpPr/>
            <p:nvPr/>
          </p:nvGrpSpPr>
          <p:grpSpPr>
            <a:xfrm>
              <a:off x="5949082" y="2086522"/>
              <a:ext cx="3402340" cy="603005"/>
              <a:chOff x="1661469" y="2992570"/>
              <a:chExt cx="4026138" cy="603005"/>
            </a:xfrm>
          </p:grpSpPr>
          <p:sp>
            <p:nvSpPr>
              <p:cNvPr id="21" name="Rectangle: Rounded Corners 20">
                <a:extLst>
                  <a:ext uri="{FF2B5EF4-FFF2-40B4-BE49-F238E27FC236}">
                    <a16:creationId xmlns:a16="http://schemas.microsoft.com/office/drawing/2014/main" id="{E7A093ED-F377-8D86-48E7-16BBB67A33E6}"/>
                  </a:ext>
                </a:extLst>
              </p:cNvPr>
              <p:cNvSpPr/>
              <p:nvPr/>
            </p:nvSpPr>
            <p:spPr>
              <a:xfrm>
                <a:off x="1661469" y="2992570"/>
                <a:ext cx="4026138" cy="60300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a:ln>
                    <a:noFill/>
                  </a:ln>
                  <a:solidFill>
                    <a:prstClr val="white"/>
                  </a:solidFill>
                  <a:effectLst/>
                  <a:uLnTx/>
                  <a:uFillTx/>
                  <a:latin typeface="+mj-lt"/>
                  <a:ea typeface="+mn-ea"/>
                  <a:cs typeface="+mn-cs"/>
                </a:endParaRPr>
              </a:p>
            </p:txBody>
          </p:sp>
          <p:sp>
            <p:nvSpPr>
              <p:cNvPr id="25" name="Text Placeholder 28">
                <a:extLst>
                  <a:ext uri="{FF2B5EF4-FFF2-40B4-BE49-F238E27FC236}">
                    <a16:creationId xmlns:a16="http://schemas.microsoft.com/office/drawing/2014/main" id="{047228AD-51B9-9352-7143-2EE4165E553E}"/>
                  </a:ext>
                </a:extLst>
              </p:cNvPr>
              <p:cNvSpPr txBox="1">
                <a:spLocks/>
              </p:cNvSpPr>
              <p:nvPr/>
            </p:nvSpPr>
            <p:spPr>
              <a:xfrm>
                <a:off x="2422282" y="3176346"/>
                <a:ext cx="2563625" cy="254969"/>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b="1" i="0" u="none" strike="noStrike" kern="1200" cap="none" spc="0" normalizeH="0" baseline="0" noProof="0" dirty="0">
                    <a:ln>
                      <a:noFill/>
                    </a:ln>
                    <a:solidFill>
                      <a:srgbClr val="1D3444"/>
                    </a:solidFill>
                    <a:effectLst/>
                    <a:uLnTx/>
                    <a:uFillTx/>
                    <a:latin typeface="+mj-lt"/>
                    <a:ea typeface="+mn-ea"/>
                    <a:cs typeface="+mn-cs"/>
                  </a:rPr>
                  <a:t>Financial</a:t>
                </a:r>
              </a:p>
            </p:txBody>
          </p:sp>
          <p:pic>
            <p:nvPicPr>
              <p:cNvPr id="29" name="Graphic 28" descr="Money outline">
                <a:extLst>
                  <a:ext uri="{FF2B5EF4-FFF2-40B4-BE49-F238E27FC236}">
                    <a16:creationId xmlns:a16="http://schemas.microsoft.com/office/drawing/2014/main" id="{1458377A-3338-8FA8-2097-A98641A45BC8}"/>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776668" y="3093561"/>
                <a:ext cx="392223" cy="392223"/>
              </a:xfrm>
              <a:prstGeom prst="rect">
                <a:avLst/>
              </a:prstGeom>
            </p:spPr>
          </p:pic>
        </p:grpSp>
        <p:grpSp>
          <p:nvGrpSpPr>
            <p:cNvPr id="30" name="Group 29">
              <a:extLst>
                <a:ext uri="{FF2B5EF4-FFF2-40B4-BE49-F238E27FC236}">
                  <a16:creationId xmlns:a16="http://schemas.microsoft.com/office/drawing/2014/main" id="{915A4FB2-8933-555D-BA7A-F03C8621A26E}"/>
                </a:ext>
              </a:extLst>
            </p:cNvPr>
            <p:cNvGrpSpPr/>
            <p:nvPr/>
          </p:nvGrpSpPr>
          <p:grpSpPr>
            <a:xfrm>
              <a:off x="6324545" y="2828127"/>
              <a:ext cx="3579159" cy="603005"/>
              <a:chOff x="1661469" y="2992570"/>
              <a:chExt cx="4026138" cy="603005"/>
            </a:xfrm>
          </p:grpSpPr>
          <p:sp>
            <p:nvSpPr>
              <p:cNvPr id="32" name="Rectangle: Rounded Corners 31">
                <a:extLst>
                  <a:ext uri="{FF2B5EF4-FFF2-40B4-BE49-F238E27FC236}">
                    <a16:creationId xmlns:a16="http://schemas.microsoft.com/office/drawing/2014/main" id="{75ED33A8-5C40-DF35-F556-C135C0957CBD}"/>
                  </a:ext>
                </a:extLst>
              </p:cNvPr>
              <p:cNvSpPr/>
              <p:nvPr/>
            </p:nvSpPr>
            <p:spPr>
              <a:xfrm>
                <a:off x="1661469" y="2992570"/>
                <a:ext cx="4026138" cy="60300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a:ln>
                    <a:noFill/>
                  </a:ln>
                  <a:solidFill>
                    <a:prstClr val="white"/>
                  </a:solidFill>
                  <a:effectLst/>
                  <a:uLnTx/>
                  <a:uFillTx/>
                  <a:latin typeface="+mj-lt"/>
                  <a:ea typeface="+mn-ea"/>
                  <a:cs typeface="+mn-cs"/>
                </a:endParaRPr>
              </a:p>
            </p:txBody>
          </p:sp>
          <p:sp>
            <p:nvSpPr>
              <p:cNvPr id="34" name="Text Placeholder 28">
                <a:extLst>
                  <a:ext uri="{FF2B5EF4-FFF2-40B4-BE49-F238E27FC236}">
                    <a16:creationId xmlns:a16="http://schemas.microsoft.com/office/drawing/2014/main" id="{3FBBAA0C-D5A2-2A7E-9C68-13C80D05DC31}"/>
                  </a:ext>
                </a:extLst>
              </p:cNvPr>
              <p:cNvSpPr txBox="1">
                <a:spLocks/>
              </p:cNvSpPr>
              <p:nvPr/>
            </p:nvSpPr>
            <p:spPr>
              <a:xfrm>
                <a:off x="2422282" y="3176346"/>
                <a:ext cx="2563625" cy="254969"/>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b="1" i="0" u="none" strike="noStrike" kern="1200" cap="none" spc="0" normalizeH="0" baseline="0" noProof="0" dirty="0">
                    <a:ln>
                      <a:noFill/>
                    </a:ln>
                    <a:solidFill>
                      <a:srgbClr val="1D3444"/>
                    </a:solidFill>
                    <a:effectLst/>
                    <a:uLnTx/>
                    <a:uFillTx/>
                    <a:latin typeface="+mj-lt"/>
                    <a:ea typeface="+mn-ea"/>
                    <a:cs typeface="+mn-cs"/>
                  </a:rPr>
                  <a:t>Operational</a:t>
                </a:r>
              </a:p>
            </p:txBody>
          </p:sp>
          <p:pic>
            <p:nvPicPr>
              <p:cNvPr id="35" name="Graphic 34">
                <a:extLst>
                  <a:ext uri="{FF2B5EF4-FFF2-40B4-BE49-F238E27FC236}">
                    <a16:creationId xmlns:a16="http://schemas.microsoft.com/office/drawing/2014/main" id="{0987166A-547D-24BF-6C84-B3CB8BD1733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76668" y="3093561"/>
                <a:ext cx="392223" cy="392223"/>
              </a:xfrm>
              <a:prstGeom prst="rect">
                <a:avLst/>
              </a:prstGeom>
            </p:spPr>
          </p:pic>
        </p:grpSp>
        <p:grpSp>
          <p:nvGrpSpPr>
            <p:cNvPr id="37" name="Group 36">
              <a:extLst>
                <a:ext uri="{FF2B5EF4-FFF2-40B4-BE49-F238E27FC236}">
                  <a16:creationId xmlns:a16="http://schemas.microsoft.com/office/drawing/2014/main" id="{07B449AD-1A1A-A918-3E35-9A8F7CE54437}"/>
                </a:ext>
              </a:extLst>
            </p:cNvPr>
            <p:cNvGrpSpPr/>
            <p:nvPr/>
          </p:nvGrpSpPr>
          <p:grpSpPr>
            <a:xfrm>
              <a:off x="6878132" y="3580361"/>
              <a:ext cx="3634770" cy="603005"/>
              <a:chOff x="1661469" y="2992570"/>
              <a:chExt cx="4026138" cy="603005"/>
            </a:xfrm>
          </p:grpSpPr>
          <p:sp>
            <p:nvSpPr>
              <p:cNvPr id="39" name="Rectangle: Rounded Corners 38">
                <a:extLst>
                  <a:ext uri="{FF2B5EF4-FFF2-40B4-BE49-F238E27FC236}">
                    <a16:creationId xmlns:a16="http://schemas.microsoft.com/office/drawing/2014/main" id="{00ADCD43-32A3-085B-ABFA-0A24A904C5B4}"/>
                  </a:ext>
                </a:extLst>
              </p:cNvPr>
              <p:cNvSpPr/>
              <p:nvPr/>
            </p:nvSpPr>
            <p:spPr>
              <a:xfrm>
                <a:off x="1661469" y="2992570"/>
                <a:ext cx="4026138" cy="60300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a:ln>
                    <a:noFill/>
                  </a:ln>
                  <a:solidFill>
                    <a:prstClr val="white"/>
                  </a:solidFill>
                  <a:effectLst/>
                  <a:uLnTx/>
                  <a:uFillTx/>
                  <a:latin typeface="+mj-lt"/>
                  <a:ea typeface="+mn-ea"/>
                  <a:cs typeface="+mn-cs"/>
                </a:endParaRPr>
              </a:p>
            </p:txBody>
          </p:sp>
          <p:sp>
            <p:nvSpPr>
              <p:cNvPr id="40" name="Text Placeholder 28">
                <a:extLst>
                  <a:ext uri="{FF2B5EF4-FFF2-40B4-BE49-F238E27FC236}">
                    <a16:creationId xmlns:a16="http://schemas.microsoft.com/office/drawing/2014/main" id="{C74515B8-0247-89FB-D245-EEF3D68C7396}"/>
                  </a:ext>
                </a:extLst>
              </p:cNvPr>
              <p:cNvSpPr txBox="1">
                <a:spLocks/>
              </p:cNvSpPr>
              <p:nvPr/>
            </p:nvSpPr>
            <p:spPr>
              <a:xfrm>
                <a:off x="2422282" y="3176346"/>
                <a:ext cx="2563625" cy="254969"/>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b="1" i="0" u="none" strike="noStrike" kern="1200" cap="none" spc="0" normalizeH="0" baseline="0" noProof="0" dirty="0">
                    <a:ln>
                      <a:noFill/>
                    </a:ln>
                    <a:solidFill>
                      <a:srgbClr val="1D3444"/>
                    </a:solidFill>
                    <a:effectLst/>
                    <a:uLnTx/>
                    <a:uFillTx/>
                    <a:latin typeface="+mj-lt"/>
                    <a:ea typeface="+mn-ea"/>
                    <a:cs typeface="+mn-cs"/>
                  </a:rPr>
                  <a:t>Reputational</a:t>
                </a:r>
              </a:p>
            </p:txBody>
          </p:sp>
          <p:pic>
            <p:nvPicPr>
              <p:cNvPr id="41" name="Graphic 40" descr="Artificial Intelligence outline">
                <a:extLst>
                  <a:ext uri="{FF2B5EF4-FFF2-40B4-BE49-F238E27FC236}">
                    <a16:creationId xmlns:a16="http://schemas.microsoft.com/office/drawing/2014/main" id="{21088086-679D-55AE-7F43-BFD3E17F383A}"/>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776668" y="3093561"/>
                <a:ext cx="392223" cy="392223"/>
              </a:xfrm>
              <a:prstGeom prst="rect">
                <a:avLst/>
              </a:prstGeom>
            </p:spPr>
          </p:pic>
        </p:grpSp>
        <p:grpSp>
          <p:nvGrpSpPr>
            <p:cNvPr id="42" name="Group 41">
              <a:extLst>
                <a:ext uri="{FF2B5EF4-FFF2-40B4-BE49-F238E27FC236}">
                  <a16:creationId xmlns:a16="http://schemas.microsoft.com/office/drawing/2014/main" id="{7FF8724F-7345-5FD6-33B8-29575ADD690F}"/>
                </a:ext>
              </a:extLst>
            </p:cNvPr>
            <p:cNvGrpSpPr/>
            <p:nvPr/>
          </p:nvGrpSpPr>
          <p:grpSpPr>
            <a:xfrm>
              <a:off x="7269500" y="4327986"/>
              <a:ext cx="3634770" cy="603005"/>
              <a:chOff x="1661469" y="2992570"/>
              <a:chExt cx="4026138" cy="603005"/>
            </a:xfrm>
          </p:grpSpPr>
          <p:sp>
            <p:nvSpPr>
              <p:cNvPr id="43" name="Rectangle: Rounded Corners 42">
                <a:extLst>
                  <a:ext uri="{FF2B5EF4-FFF2-40B4-BE49-F238E27FC236}">
                    <a16:creationId xmlns:a16="http://schemas.microsoft.com/office/drawing/2014/main" id="{F5ADBD7F-121B-6893-6CFA-F8C09724F458}"/>
                  </a:ext>
                </a:extLst>
              </p:cNvPr>
              <p:cNvSpPr/>
              <p:nvPr/>
            </p:nvSpPr>
            <p:spPr>
              <a:xfrm>
                <a:off x="1661469" y="2992570"/>
                <a:ext cx="4026138" cy="60300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a:ln>
                    <a:noFill/>
                  </a:ln>
                  <a:solidFill>
                    <a:prstClr val="white"/>
                  </a:solidFill>
                  <a:effectLst/>
                  <a:uLnTx/>
                  <a:uFillTx/>
                  <a:latin typeface="+mj-lt"/>
                  <a:ea typeface="+mn-ea"/>
                  <a:cs typeface="+mn-cs"/>
                </a:endParaRPr>
              </a:p>
            </p:txBody>
          </p:sp>
          <p:sp>
            <p:nvSpPr>
              <p:cNvPr id="46" name="Text Placeholder 28">
                <a:extLst>
                  <a:ext uri="{FF2B5EF4-FFF2-40B4-BE49-F238E27FC236}">
                    <a16:creationId xmlns:a16="http://schemas.microsoft.com/office/drawing/2014/main" id="{1F21F3AE-9DB1-266C-AEF7-53DF7332FCDF}"/>
                  </a:ext>
                </a:extLst>
              </p:cNvPr>
              <p:cNvSpPr txBox="1">
                <a:spLocks/>
              </p:cNvSpPr>
              <p:nvPr/>
            </p:nvSpPr>
            <p:spPr>
              <a:xfrm>
                <a:off x="2422282" y="3176346"/>
                <a:ext cx="2563625" cy="254969"/>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b="1" i="0" u="none" strike="noStrike" kern="1200" cap="none" spc="0" normalizeH="0" baseline="0" noProof="0" dirty="0">
                    <a:ln>
                      <a:noFill/>
                    </a:ln>
                    <a:solidFill>
                      <a:srgbClr val="1D3444"/>
                    </a:solidFill>
                    <a:effectLst/>
                    <a:uLnTx/>
                    <a:uFillTx/>
                    <a:latin typeface="+mj-lt"/>
                    <a:ea typeface="+mn-ea"/>
                    <a:cs typeface="+mn-cs"/>
                  </a:rPr>
                  <a:t>Legal</a:t>
                </a:r>
              </a:p>
            </p:txBody>
          </p:sp>
          <p:pic>
            <p:nvPicPr>
              <p:cNvPr id="47" name="Graphic 46" descr="Gavel outline">
                <a:extLst>
                  <a:ext uri="{FF2B5EF4-FFF2-40B4-BE49-F238E27FC236}">
                    <a16:creationId xmlns:a16="http://schemas.microsoft.com/office/drawing/2014/main" id="{FF3D0144-7A2C-3E8D-3CDB-33EC98677E30}"/>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776668" y="3093561"/>
                <a:ext cx="392223" cy="392223"/>
              </a:xfrm>
              <a:prstGeom prst="rect">
                <a:avLst/>
              </a:prstGeom>
            </p:spPr>
          </p:pic>
        </p:grpSp>
        <p:grpSp>
          <p:nvGrpSpPr>
            <p:cNvPr id="51" name="Group 50">
              <a:extLst>
                <a:ext uri="{FF2B5EF4-FFF2-40B4-BE49-F238E27FC236}">
                  <a16:creationId xmlns:a16="http://schemas.microsoft.com/office/drawing/2014/main" id="{7AF881A3-9CAC-8710-1EC5-C7D29FFF43FD}"/>
                </a:ext>
              </a:extLst>
            </p:cNvPr>
            <p:cNvGrpSpPr/>
            <p:nvPr/>
          </p:nvGrpSpPr>
          <p:grpSpPr>
            <a:xfrm>
              <a:off x="7655330" y="5110374"/>
              <a:ext cx="3640308" cy="603005"/>
              <a:chOff x="1661469" y="2992570"/>
              <a:chExt cx="4026138" cy="603005"/>
            </a:xfrm>
          </p:grpSpPr>
          <p:sp>
            <p:nvSpPr>
              <p:cNvPr id="52" name="Rectangle: Rounded Corners 51">
                <a:extLst>
                  <a:ext uri="{FF2B5EF4-FFF2-40B4-BE49-F238E27FC236}">
                    <a16:creationId xmlns:a16="http://schemas.microsoft.com/office/drawing/2014/main" id="{7A6CCF4A-B691-2CDE-75BB-B6B4A61B6399}"/>
                  </a:ext>
                </a:extLst>
              </p:cNvPr>
              <p:cNvSpPr/>
              <p:nvPr/>
            </p:nvSpPr>
            <p:spPr>
              <a:xfrm>
                <a:off x="1661469" y="2992570"/>
                <a:ext cx="4026138" cy="60300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600" b="0" i="0" u="none" strike="noStrike" kern="1200" cap="none" spc="0" normalizeH="0" baseline="0" noProof="0">
                  <a:ln>
                    <a:noFill/>
                  </a:ln>
                  <a:solidFill>
                    <a:prstClr val="white"/>
                  </a:solidFill>
                  <a:effectLst/>
                  <a:uLnTx/>
                  <a:uFillTx/>
                  <a:latin typeface="+mj-lt"/>
                  <a:ea typeface="+mn-ea"/>
                  <a:cs typeface="+mn-cs"/>
                </a:endParaRPr>
              </a:p>
            </p:txBody>
          </p:sp>
          <p:sp>
            <p:nvSpPr>
              <p:cNvPr id="53" name="Text Placeholder 28">
                <a:extLst>
                  <a:ext uri="{FF2B5EF4-FFF2-40B4-BE49-F238E27FC236}">
                    <a16:creationId xmlns:a16="http://schemas.microsoft.com/office/drawing/2014/main" id="{1D5CEC21-AB52-F0AA-2339-F0F32FC39F4D}"/>
                  </a:ext>
                </a:extLst>
              </p:cNvPr>
              <p:cNvSpPr txBox="1">
                <a:spLocks/>
              </p:cNvSpPr>
              <p:nvPr/>
            </p:nvSpPr>
            <p:spPr>
              <a:xfrm>
                <a:off x="2422282" y="3176346"/>
                <a:ext cx="2563625" cy="254969"/>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AU" b="1" i="0" u="none" strike="noStrike" kern="1200" cap="none" spc="0" normalizeH="0" baseline="0" noProof="0" dirty="0">
                    <a:ln>
                      <a:noFill/>
                    </a:ln>
                    <a:solidFill>
                      <a:srgbClr val="1D3444"/>
                    </a:solidFill>
                    <a:effectLst/>
                    <a:uLnTx/>
                    <a:uFillTx/>
                    <a:latin typeface="+mj-lt"/>
                    <a:ea typeface="+mn-ea"/>
                    <a:cs typeface="+mn-cs"/>
                  </a:rPr>
                  <a:t>Emotional</a:t>
                </a:r>
              </a:p>
            </p:txBody>
          </p:sp>
          <p:pic>
            <p:nvPicPr>
              <p:cNvPr id="54" name="Graphic 53" descr="Worried face outline outline">
                <a:extLst>
                  <a:ext uri="{FF2B5EF4-FFF2-40B4-BE49-F238E27FC236}">
                    <a16:creationId xmlns:a16="http://schemas.microsoft.com/office/drawing/2014/main" id="{36179ECE-970B-7FB5-75C7-F6CE89CE8D37}"/>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776668" y="3093561"/>
                <a:ext cx="392223" cy="392223"/>
              </a:xfrm>
              <a:prstGeom prst="rect">
                <a:avLst/>
              </a:prstGeom>
            </p:spPr>
          </p:pic>
        </p:grpSp>
      </p:grpSp>
    </p:spTree>
    <p:extLst>
      <p:ext uri="{BB962C8B-B14F-4D97-AF65-F5344CB8AC3E}">
        <p14:creationId xmlns:p14="http://schemas.microsoft.com/office/powerpoint/2010/main" val="366858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C126C27A-A09B-895F-4CC1-D16E248CC399}"/>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35924" r="-378" b="47883"/>
          <a:stretch/>
        </p:blipFill>
        <p:spPr>
          <a:xfrm rot="10800000">
            <a:off x="7438650" y="-473009"/>
            <a:ext cx="5814257" cy="5269155"/>
          </a:xfrm>
          <a:prstGeom prst="rect">
            <a:avLst/>
          </a:prstGeom>
        </p:spPr>
      </p:pic>
      <p:sp>
        <p:nvSpPr>
          <p:cNvPr id="83" name="Freeform: Shape 82" hidden="1">
            <a:extLst>
              <a:ext uri="{FF2B5EF4-FFF2-40B4-BE49-F238E27FC236}">
                <a16:creationId xmlns:a16="http://schemas.microsoft.com/office/drawing/2014/main" id="{90A91819-467A-EE35-EAEE-7E7F092988F6}"/>
              </a:ext>
            </a:extLst>
          </p:cNvPr>
          <p:cNvSpPr/>
          <p:nvPr/>
        </p:nvSpPr>
        <p:spPr>
          <a:xfrm rot="6507934">
            <a:off x="7586937" y="3921918"/>
            <a:ext cx="2399808" cy="4124566"/>
          </a:xfrm>
          <a:custGeom>
            <a:avLst/>
            <a:gdLst>
              <a:gd name="connsiteX0" fmla="*/ 1041562 w 2736123"/>
              <a:gd name="connsiteY0" fmla="*/ 3742159 h 4702593"/>
              <a:gd name="connsiteX1" fmla="*/ 881514 w 2736123"/>
              <a:gd name="connsiteY1" fmla="*/ 3187575 h 4702593"/>
              <a:gd name="connsiteX2" fmla="*/ 797532 w 2736123"/>
              <a:gd name="connsiteY2" fmla="*/ 2834215 h 4702593"/>
              <a:gd name="connsiteX3" fmla="*/ 50090 w 2736123"/>
              <a:gd name="connsiteY3" fmla="*/ 617871 h 4702593"/>
              <a:gd name="connsiteX4" fmla="*/ 0 w 2736123"/>
              <a:gd name="connsiteY4" fmla="*/ 516388 h 4702593"/>
              <a:gd name="connsiteX5" fmla="*/ 1546409 w 2736123"/>
              <a:gd name="connsiteY5" fmla="*/ 0 h 4702593"/>
              <a:gd name="connsiteX6" fmla="*/ 2736123 w 2736123"/>
              <a:gd name="connsiteY6" fmla="*/ 3562794 h 4702593"/>
              <a:gd name="connsiteX7" fmla="*/ 2660633 w 2736123"/>
              <a:gd name="connsiteY7" fmla="*/ 3686400 h 4702593"/>
              <a:gd name="connsiteX8" fmla="*/ 2211026 w 2736123"/>
              <a:gd name="connsiteY8" fmla="*/ 4244256 h 4702593"/>
              <a:gd name="connsiteX9" fmla="*/ 1665253 w 2736123"/>
              <a:gd name="connsiteY9" fmla="*/ 4702593 h 4702593"/>
              <a:gd name="connsiteX10" fmla="*/ 1248851 w 2736123"/>
              <a:gd name="connsiteY10" fmla="*/ 4202265 h 4702593"/>
              <a:gd name="connsiteX11" fmla="*/ 1041562 w 2736123"/>
              <a:gd name="connsiteY11" fmla="*/ 3742159 h 47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6123" h="4702593">
                <a:moveTo>
                  <a:pt x="1041562" y="3742159"/>
                </a:moveTo>
                <a:cubicBezTo>
                  <a:pt x="980337" y="3573332"/>
                  <a:pt x="926986" y="3388758"/>
                  <a:pt x="881514" y="3187575"/>
                </a:cubicBezTo>
                <a:cubicBezTo>
                  <a:pt x="853501" y="3072127"/>
                  <a:pt x="825488" y="2960188"/>
                  <a:pt x="797532" y="2834215"/>
                </a:cubicBezTo>
                <a:cubicBezTo>
                  <a:pt x="589769" y="1985762"/>
                  <a:pt x="343763" y="1252107"/>
                  <a:pt x="50090" y="617871"/>
                </a:cubicBezTo>
                <a:lnTo>
                  <a:pt x="0" y="516388"/>
                </a:lnTo>
                <a:lnTo>
                  <a:pt x="1546409" y="0"/>
                </a:lnTo>
                <a:lnTo>
                  <a:pt x="2736123" y="3562794"/>
                </a:lnTo>
                <a:lnTo>
                  <a:pt x="2660633" y="3686400"/>
                </a:lnTo>
                <a:cubicBezTo>
                  <a:pt x="2497298" y="3940095"/>
                  <a:pt x="2338958" y="4120709"/>
                  <a:pt x="2211026" y="4244256"/>
                </a:cubicBezTo>
                <a:cubicBezTo>
                  <a:pt x="2039609" y="4412220"/>
                  <a:pt x="1857665" y="4569658"/>
                  <a:pt x="1665253" y="4702593"/>
                </a:cubicBezTo>
                <a:cubicBezTo>
                  <a:pt x="1511267" y="4583637"/>
                  <a:pt x="1367807" y="4412220"/>
                  <a:pt x="1248851" y="4202265"/>
                </a:cubicBezTo>
                <a:cubicBezTo>
                  <a:pt x="1171886" y="4064068"/>
                  <a:pt x="1102787" y="3910986"/>
                  <a:pt x="1041562" y="3742159"/>
                </a:cubicBezTo>
                <a:close/>
              </a:path>
            </a:pathLst>
          </a:custGeom>
          <a:solidFill>
            <a:srgbClr val="2D4588"/>
          </a:solidFill>
          <a:ln w="6244" cap="flat">
            <a:noFill/>
            <a:prstDash val="solid"/>
            <a:miter/>
          </a:ln>
        </p:spPr>
        <p:txBody>
          <a:bodyPr rtlCol="0" anchor="ctr"/>
          <a:lstStyle/>
          <a:p>
            <a:pPr algn="l" defTabSz="802020" rtl="0">
              <a:defRPr/>
            </a:pPr>
            <a:endParaRPr lang="en-AU" sz="1579" kern="1200">
              <a:solidFill>
                <a:prstClr val="black"/>
              </a:solidFill>
              <a:latin typeface="Verdana" panose="020B0604030504040204" pitchFamily="34" charset="0"/>
              <a:ea typeface="+mn-ea"/>
              <a:cs typeface="+mn-cs"/>
            </a:endParaRPr>
          </a:p>
        </p:txBody>
      </p:sp>
      <p:sp>
        <p:nvSpPr>
          <p:cNvPr id="4" name="TextBox 3">
            <a:extLst>
              <a:ext uri="{FF2B5EF4-FFF2-40B4-BE49-F238E27FC236}">
                <a16:creationId xmlns:a16="http://schemas.microsoft.com/office/drawing/2014/main" id="{54E960BC-CD50-0314-1D31-912791E0F734}"/>
              </a:ext>
            </a:extLst>
          </p:cNvPr>
          <p:cNvSpPr txBox="1"/>
          <p:nvPr/>
        </p:nvSpPr>
        <p:spPr>
          <a:xfrm>
            <a:off x="617895" y="1100886"/>
            <a:ext cx="5632407" cy="481094"/>
          </a:xfrm>
          <a:prstGeom prst="rect">
            <a:avLst/>
          </a:prstGeom>
          <a:noFill/>
        </p:spPr>
        <p:txBody>
          <a:bodyPr wrap="square" rtlCol="0">
            <a:spAutoFit/>
          </a:bodyPr>
          <a:lstStyle/>
          <a:p>
            <a:pPr algn="l" defTabSz="802020" rtl="0">
              <a:lnSpc>
                <a:spcPct val="90000"/>
              </a:lnSpc>
              <a:defRPr/>
            </a:pPr>
            <a:r>
              <a:rPr lang="en-US" sz="2800" b="1" kern="1200" spc="-44" dirty="0">
                <a:solidFill>
                  <a:prstClr val="white"/>
                </a:solidFill>
                <a:latin typeface="Arial" panose="020B0604020202020204"/>
                <a:ea typeface="+mn-ea"/>
                <a:cs typeface="+mn-cs"/>
              </a:rPr>
              <a:t>Anyone can be fooled…</a:t>
            </a:r>
          </a:p>
        </p:txBody>
      </p:sp>
      <p:pic>
        <p:nvPicPr>
          <p:cNvPr id="34" name="Picture 33">
            <a:extLst>
              <a:ext uri="{FF2B5EF4-FFF2-40B4-BE49-F238E27FC236}">
                <a16:creationId xmlns:a16="http://schemas.microsoft.com/office/drawing/2014/main" id="{B34FE702-E924-3C61-9878-F8DF9EFCE5C4}"/>
              </a:ext>
            </a:extLst>
          </p:cNvPr>
          <p:cNvPicPr>
            <a:picLocks noChangeAspect="1"/>
          </p:cNvPicPr>
          <p:nvPr/>
        </p:nvPicPr>
        <p:blipFill>
          <a:blip r:embed="rId4" cstate="print">
            <a:extLst>
              <a:ext uri="{28A0092B-C50C-407E-A947-70E740481C1C}">
                <a14:useLocalDpi xmlns:a14="http://schemas.microsoft.com/office/drawing/2010/main"/>
              </a:ext>
            </a:extLst>
          </a:blip>
          <a:srcRect l="1649" t="24768" r="10670" b="17909"/>
          <a:stretch/>
        </p:blipFill>
        <p:spPr>
          <a:xfrm>
            <a:off x="-1282700" y="2090128"/>
            <a:ext cx="10574365" cy="4608739"/>
          </a:xfrm>
          <a:prstGeom prst="rect">
            <a:avLst/>
          </a:prstGeom>
        </p:spPr>
      </p:pic>
      <p:sp>
        <p:nvSpPr>
          <p:cNvPr id="2" name="TextBox 1">
            <a:extLst>
              <a:ext uri="{FF2B5EF4-FFF2-40B4-BE49-F238E27FC236}">
                <a16:creationId xmlns:a16="http://schemas.microsoft.com/office/drawing/2014/main" id="{98B500C7-45A3-F772-CA9A-E97594212AE1}"/>
              </a:ext>
            </a:extLst>
          </p:cNvPr>
          <p:cNvSpPr txBox="1"/>
          <p:nvPr/>
        </p:nvSpPr>
        <p:spPr>
          <a:xfrm>
            <a:off x="7438650" y="3370339"/>
            <a:ext cx="2718801" cy="2048318"/>
          </a:xfrm>
          <a:prstGeom prst="rect">
            <a:avLst/>
          </a:prstGeom>
          <a:noFill/>
        </p:spPr>
        <p:txBody>
          <a:bodyPr wrap="square">
            <a:spAutoFit/>
          </a:bodyPr>
          <a:lstStyle/>
          <a:p>
            <a:pPr algn="l" defTabSz="802020" rtl="0">
              <a:spcBef>
                <a:spcPts val="1053"/>
              </a:spcBef>
              <a:defRPr/>
            </a:pPr>
            <a:r>
              <a:rPr lang="en-US" sz="1579" b="1" kern="1200" dirty="0">
                <a:solidFill>
                  <a:srgbClr val="FFBE37"/>
                </a:solidFill>
                <a:latin typeface="Arial" panose="020B0604020202020204"/>
                <a:ea typeface="+mn-ea"/>
                <a:cs typeface="+mn-cs"/>
              </a:rPr>
              <a:t>The only option was</a:t>
            </a:r>
            <a:br>
              <a:rPr lang="en-US" sz="1579" b="1" kern="1200" dirty="0">
                <a:solidFill>
                  <a:srgbClr val="FFBE37"/>
                </a:solidFill>
                <a:latin typeface="Arial" panose="020B0604020202020204"/>
                <a:ea typeface="+mn-ea"/>
                <a:cs typeface="+mn-cs"/>
              </a:rPr>
            </a:br>
            <a:r>
              <a:rPr lang="en-US" sz="1579" b="1" kern="1200" dirty="0">
                <a:solidFill>
                  <a:srgbClr val="FFBE37"/>
                </a:solidFill>
                <a:latin typeface="Arial" panose="020B0604020202020204"/>
                <a:ea typeface="+mn-ea"/>
                <a:cs typeface="+mn-cs"/>
              </a:rPr>
              <a:t>to respond by email</a:t>
            </a:r>
          </a:p>
          <a:p>
            <a:pPr algn="l" defTabSz="802020" rtl="0">
              <a:spcBef>
                <a:spcPts val="1053"/>
              </a:spcBef>
              <a:defRPr/>
            </a:pPr>
            <a:r>
              <a:rPr lang="en-US" sz="1228" kern="1200" dirty="0">
                <a:solidFill>
                  <a:prstClr val="white"/>
                </a:solidFill>
                <a:latin typeface="Arial" panose="020B0604020202020204"/>
                <a:ea typeface="+mn-ea"/>
                <a:cs typeface="+mn-cs"/>
              </a:rPr>
              <a:t>Client returned photocopy</a:t>
            </a:r>
            <a:br>
              <a:rPr lang="en-US" sz="1228" kern="1200" dirty="0">
                <a:solidFill>
                  <a:prstClr val="white"/>
                </a:solidFill>
                <a:latin typeface="Arial" panose="020B0604020202020204"/>
                <a:ea typeface="+mn-ea"/>
                <a:cs typeface="+mn-cs"/>
              </a:rPr>
            </a:br>
            <a:r>
              <a:rPr lang="en-US" sz="1228" kern="1200" dirty="0">
                <a:solidFill>
                  <a:prstClr val="white"/>
                </a:solidFill>
                <a:latin typeface="Arial" panose="020B0604020202020204"/>
                <a:ea typeface="+mn-ea"/>
                <a:cs typeface="+mn-cs"/>
              </a:rPr>
              <a:t>of driver's license, bank statements and unprotected Excel documents with full asset valuations, HIN information and account numbers. </a:t>
            </a:r>
          </a:p>
          <a:p>
            <a:pPr algn="l" defTabSz="802020" rtl="0">
              <a:spcBef>
                <a:spcPts val="1053"/>
              </a:spcBef>
              <a:defRPr/>
            </a:pPr>
            <a:endParaRPr lang="en-US" sz="1579" b="1" kern="1200" dirty="0">
              <a:solidFill>
                <a:prstClr val="white"/>
              </a:solidFill>
              <a:latin typeface="Arial" panose="020B0604020202020204"/>
              <a:ea typeface="+mn-ea"/>
              <a:cs typeface="+mn-cs"/>
            </a:endParaRPr>
          </a:p>
        </p:txBody>
      </p:sp>
      <p:pic>
        <p:nvPicPr>
          <p:cNvPr id="5" name="Graphic 4">
            <a:extLst>
              <a:ext uri="{FF2B5EF4-FFF2-40B4-BE49-F238E27FC236}">
                <a16:creationId xmlns:a16="http://schemas.microsoft.com/office/drawing/2014/main" id="{63025A1E-2C3D-23D5-E82B-239559FBCD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31855" y="2634236"/>
            <a:ext cx="532973" cy="532973"/>
          </a:xfrm>
          <a:prstGeom prst="rect">
            <a:avLst/>
          </a:prstGeom>
        </p:spPr>
      </p:pic>
      <p:cxnSp>
        <p:nvCxnSpPr>
          <p:cNvPr id="3" name="Straight Connector 2">
            <a:extLst>
              <a:ext uri="{FF2B5EF4-FFF2-40B4-BE49-F238E27FC236}">
                <a16:creationId xmlns:a16="http://schemas.microsoft.com/office/drawing/2014/main" id="{3A69EBD9-D0E1-8BD5-8994-6501BFE37A48}"/>
              </a:ext>
            </a:extLst>
          </p:cNvPr>
          <p:cNvCxnSpPr>
            <a:cxnSpLocks/>
          </p:cNvCxnSpPr>
          <p:nvPr/>
        </p:nvCxnSpPr>
        <p:spPr>
          <a:xfrm>
            <a:off x="634027" y="1861325"/>
            <a:ext cx="385321"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53D5F857-75E8-130E-6825-DBA1CED96993}"/>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3" t="-1" r="73506" b="75689"/>
          <a:stretch/>
        </p:blipFill>
        <p:spPr>
          <a:xfrm rot="10800000" flipV="1">
            <a:off x="0" y="3061147"/>
            <a:ext cx="3137535" cy="3226965"/>
          </a:xfrm>
          <a:prstGeom prst="rect">
            <a:avLst/>
          </a:prstGeom>
        </p:spPr>
      </p:pic>
    </p:spTree>
    <p:extLst>
      <p:ext uri="{BB962C8B-B14F-4D97-AF65-F5344CB8AC3E}">
        <p14:creationId xmlns:p14="http://schemas.microsoft.com/office/powerpoint/2010/main" val="310114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4899DFB-BF31-36A7-F565-DD4708D973A6}"/>
              </a:ext>
            </a:extLst>
          </p:cNvPr>
          <p:cNvSpPr txBox="1"/>
          <p:nvPr/>
        </p:nvSpPr>
        <p:spPr>
          <a:xfrm>
            <a:off x="1408715" y="6318918"/>
            <a:ext cx="5877285" cy="518925"/>
          </a:xfrm>
          <a:prstGeom prst="rect">
            <a:avLst/>
          </a:prstGeom>
          <a:noFill/>
        </p:spPr>
        <p:txBody>
          <a:bodyPr wrap="square">
            <a:spAutoFit/>
          </a:bodyPr>
          <a:lstStyle/>
          <a:p>
            <a:pPr algn="l" defTabSz="802020" rtl="0">
              <a:lnSpc>
                <a:spcPct val="107000"/>
              </a:lnSpc>
              <a:spcAft>
                <a:spcPts val="702"/>
              </a:spcAft>
              <a:defRPr/>
            </a:pPr>
            <a:r>
              <a:rPr lang="en-US" sz="526" kern="1200">
                <a:solidFill>
                  <a:prstClr val="white"/>
                </a:solidFill>
                <a:latin typeface="Arial" panose="020B0604020202020204"/>
                <a:ea typeface="+mn-ea"/>
                <a:cs typeface="+mn-cs"/>
                <a:sym typeface="Montserrat"/>
              </a:rPr>
              <a:t>1. Salesforce, The Connected Financial Services Report, 2023.</a:t>
            </a:r>
            <a:br>
              <a:rPr lang="en-US" sz="526" kern="1200">
                <a:solidFill>
                  <a:prstClr val="white"/>
                </a:solidFill>
                <a:latin typeface="Arial" panose="020B0604020202020204"/>
                <a:ea typeface="+mn-ea"/>
                <a:cs typeface="+mn-cs"/>
                <a:sym typeface="Montserrat"/>
              </a:rPr>
            </a:br>
            <a:r>
              <a:rPr lang="en-US" sz="526" kern="1200">
                <a:solidFill>
                  <a:prstClr val="white"/>
                </a:solidFill>
                <a:latin typeface="Arial" panose="020B0604020202020204"/>
                <a:ea typeface="+mn-ea"/>
                <a:cs typeface="+mn-cs"/>
                <a:sym typeface="Montserrat"/>
              </a:rPr>
              <a:t>2. ASD Cyber Threat Report 2022-2023.</a:t>
            </a:r>
            <a:br>
              <a:rPr lang="en-US" sz="526" kern="1200">
                <a:solidFill>
                  <a:prstClr val="white"/>
                </a:solidFill>
                <a:latin typeface="Arial" panose="020B0604020202020204"/>
                <a:ea typeface="+mn-ea"/>
                <a:cs typeface="+mn-cs"/>
                <a:sym typeface="Montserrat"/>
              </a:rPr>
            </a:br>
            <a:r>
              <a:rPr lang="en-US" sz="526" kern="1200">
                <a:solidFill>
                  <a:prstClr val="white"/>
                </a:solidFill>
                <a:latin typeface="Arial" panose="020B0604020202020204"/>
                <a:ea typeface="+mn-ea"/>
                <a:cs typeface="+mn-cs"/>
                <a:sym typeface="Montserrat"/>
              </a:rPr>
              <a:t>3. Statistics provided by DocuSign - Digitising to meet the needs of today’s wealth management clients, 2023.</a:t>
            </a:r>
            <a:br>
              <a:rPr lang="en-US" sz="526" kern="1200">
                <a:solidFill>
                  <a:prstClr val="white"/>
                </a:solidFill>
                <a:latin typeface="Arial" panose="020B0604020202020204"/>
                <a:ea typeface="+mn-ea"/>
                <a:cs typeface="+mn-cs"/>
                <a:sym typeface="Montserrat"/>
              </a:rPr>
            </a:br>
            <a:r>
              <a:rPr lang="en-US" sz="526" kern="1200">
                <a:solidFill>
                  <a:prstClr val="white"/>
                </a:solidFill>
                <a:latin typeface="Arial" panose="020B0604020202020204"/>
                <a:ea typeface="+mn-ea"/>
                <a:cs typeface="+mn-cs"/>
                <a:sym typeface="Montserrat"/>
              </a:rPr>
              <a:t>4. Statistics collected via responses to Finura Advice Tech Health Check as at 2024.</a:t>
            </a:r>
            <a:br>
              <a:rPr lang="en-US" sz="526" kern="1200">
                <a:solidFill>
                  <a:prstClr val="white"/>
                </a:solidFill>
                <a:latin typeface="Arial" panose="020B0604020202020204"/>
                <a:ea typeface="+mn-ea"/>
                <a:cs typeface="+mn-cs"/>
                <a:sym typeface="Montserrat"/>
              </a:rPr>
            </a:br>
            <a:endParaRPr lang="en-AU" sz="526" kern="1200">
              <a:solidFill>
                <a:prstClr val="white"/>
              </a:solidFill>
              <a:latin typeface="Arial" panose="020B0604020202020204"/>
              <a:ea typeface="+mn-ea"/>
              <a:cs typeface="+mn-cs"/>
              <a:sym typeface="Montserrat"/>
            </a:endParaRPr>
          </a:p>
        </p:txBody>
      </p:sp>
      <p:grpSp>
        <p:nvGrpSpPr>
          <p:cNvPr id="25" name="Group 24">
            <a:extLst>
              <a:ext uri="{FF2B5EF4-FFF2-40B4-BE49-F238E27FC236}">
                <a16:creationId xmlns:a16="http://schemas.microsoft.com/office/drawing/2014/main" id="{E4E7E1BE-1FC7-6986-53B0-29502C7DA648}"/>
              </a:ext>
            </a:extLst>
          </p:cNvPr>
          <p:cNvGrpSpPr/>
          <p:nvPr/>
        </p:nvGrpSpPr>
        <p:grpSpPr>
          <a:xfrm>
            <a:off x="6413500" y="2432480"/>
            <a:ext cx="4793430" cy="3128607"/>
            <a:chOff x="273720" y="2648319"/>
            <a:chExt cx="4793430" cy="3128607"/>
          </a:xfrm>
        </p:grpSpPr>
        <p:sp>
          <p:nvSpPr>
            <p:cNvPr id="3" name="Rectangle 2">
              <a:extLst>
                <a:ext uri="{FF2B5EF4-FFF2-40B4-BE49-F238E27FC236}">
                  <a16:creationId xmlns:a16="http://schemas.microsoft.com/office/drawing/2014/main" id="{91519934-C5BE-3985-F761-211ABA96C837}"/>
                </a:ext>
              </a:extLst>
            </p:cNvPr>
            <p:cNvSpPr/>
            <p:nvPr/>
          </p:nvSpPr>
          <p:spPr>
            <a:xfrm>
              <a:off x="273720" y="2648319"/>
              <a:ext cx="4027547" cy="31286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AU" sz="1579" kern="1200">
                <a:solidFill>
                  <a:prstClr val="white"/>
                </a:solidFill>
                <a:latin typeface="Arial" panose="020B0604020202020204"/>
              </a:endParaRPr>
            </a:p>
          </p:txBody>
        </p:sp>
        <p:sp>
          <p:nvSpPr>
            <p:cNvPr id="2" name="TextBox 1">
              <a:extLst>
                <a:ext uri="{FF2B5EF4-FFF2-40B4-BE49-F238E27FC236}">
                  <a16:creationId xmlns:a16="http://schemas.microsoft.com/office/drawing/2014/main" id="{BB0E852F-AFDD-D327-9854-5F797CE366D5}"/>
                </a:ext>
              </a:extLst>
            </p:cNvPr>
            <p:cNvSpPr txBox="1"/>
            <p:nvPr/>
          </p:nvSpPr>
          <p:spPr>
            <a:xfrm>
              <a:off x="1420484" y="3277212"/>
              <a:ext cx="2335855" cy="308226"/>
            </a:xfrm>
            <a:prstGeom prst="rect">
              <a:avLst/>
            </a:prstGeom>
            <a:noFill/>
          </p:spPr>
          <p:txBody>
            <a:bodyPr wrap="square" rtlCol="0">
              <a:spAutoFit/>
            </a:bodyPr>
            <a:lstStyle/>
            <a:p>
              <a:pPr algn="l" defTabSz="802020" rtl="0">
                <a:defRPr/>
              </a:pPr>
              <a:r>
                <a:rPr lang="en-US" sz="1403" kern="1200" dirty="0">
                  <a:solidFill>
                    <a:prstClr val="black"/>
                  </a:solidFill>
                  <a:latin typeface="Arial" panose="020B0604020202020204"/>
                  <a:ea typeface="+mn-ea"/>
                  <a:cs typeface="+mn-cs"/>
                </a:rPr>
                <a:t>Client engagement</a:t>
              </a:r>
            </a:p>
          </p:txBody>
        </p:sp>
        <p:sp>
          <p:nvSpPr>
            <p:cNvPr id="16" name="TextBox 15">
              <a:extLst>
                <a:ext uri="{FF2B5EF4-FFF2-40B4-BE49-F238E27FC236}">
                  <a16:creationId xmlns:a16="http://schemas.microsoft.com/office/drawing/2014/main" id="{0D501701-9494-A791-34E7-315F5E000991}"/>
                </a:ext>
              </a:extLst>
            </p:cNvPr>
            <p:cNvSpPr txBox="1"/>
            <p:nvPr/>
          </p:nvSpPr>
          <p:spPr>
            <a:xfrm>
              <a:off x="1420484" y="4140204"/>
              <a:ext cx="1043680" cy="308226"/>
            </a:xfrm>
            <a:prstGeom prst="rect">
              <a:avLst/>
            </a:prstGeom>
            <a:noFill/>
          </p:spPr>
          <p:txBody>
            <a:bodyPr wrap="square" rtlCol="0">
              <a:spAutoFit/>
            </a:bodyPr>
            <a:lstStyle/>
            <a:p>
              <a:pPr algn="l" defTabSz="802020" rtl="0">
                <a:defRPr/>
              </a:pPr>
              <a:r>
                <a:rPr lang="en-US" sz="1403" kern="1200">
                  <a:solidFill>
                    <a:prstClr val="black"/>
                  </a:solidFill>
                  <a:latin typeface="Arial" panose="020B0604020202020204"/>
                  <a:ea typeface="+mn-ea"/>
                  <a:cs typeface="+mn-cs"/>
                </a:rPr>
                <a:t>Security</a:t>
              </a:r>
            </a:p>
          </p:txBody>
        </p:sp>
        <p:sp>
          <p:nvSpPr>
            <p:cNvPr id="18" name="TextBox 17">
              <a:extLst>
                <a:ext uri="{FF2B5EF4-FFF2-40B4-BE49-F238E27FC236}">
                  <a16:creationId xmlns:a16="http://schemas.microsoft.com/office/drawing/2014/main" id="{F04EA5E0-F442-5D5B-29A8-FDA047CEEDD0}"/>
                </a:ext>
              </a:extLst>
            </p:cNvPr>
            <p:cNvSpPr txBox="1"/>
            <p:nvPr/>
          </p:nvSpPr>
          <p:spPr>
            <a:xfrm>
              <a:off x="1420484" y="5007024"/>
              <a:ext cx="1562624" cy="308226"/>
            </a:xfrm>
            <a:prstGeom prst="rect">
              <a:avLst/>
            </a:prstGeom>
            <a:noFill/>
          </p:spPr>
          <p:txBody>
            <a:bodyPr wrap="square" rtlCol="0">
              <a:spAutoFit/>
            </a:bodyPr>
            <a:lstStyle/>
            <a:p>
              <a:pPr algn="l" defTabSz="802020" rtl="0">
                <a:defRPr/>
              </a:pPr>
              <a:r>
                <a:rPr lang="en-US" sz="1403" kern="1200">
                  <a:solidFill>
                    <a:prstClr val="black"/>
                  </a:solidFill>
                  <a:latin typeface="Arial" panose="020B0604020202020204"/>
                  <a:ea typeface="+mn-ea"/>
                  <a:cs typeface="+mn-cs"/>
                </a:rPr>
                <a:t>Efficiency</a:t>
              </a:r>
            </a:p>
          </p:txBody>
        </p:sp>
        <p:grpSp>
          <p:nvGrpSpPr>
            <p:cNvPr id="37" name="Group 36">
              <a:extLst>
                <a:ext uri="{FF2B5EF4-FFF2-40B4-BE49-F238E27FC236}">
                  <a16:creationId xmlns:a16="http://schemas.microsoft.com/office/drawing/2014/main" id="{920622E8-4AB2-3BDA-DBF8-75EE9C4951DC}"/>
                </a:ext>
              </a:extLst>
            </p:cNvPr>
            <p:cNvGrpSpPr/>
            <p:nvPr/>
          </p:nvGrpSpPr>
          <p:grpSpPr>
            <a:xfrm>
              <a:off x="615116" y="3104894"/>
              <a:ext cx="643120" cy="643120"/>
              <a:chOff x="700092" y="2953506"/>
              <a:chExt cx="591670" cy="591670"/>
            </a:xfrm>
            <a:solidFill>
              <a:schemeClr val="accent1"/>
            </a:solidFill>
          </p:grpSpPr>
          <p:sp>
            <p:nvSpPr>
              <p:cNvPr id="15" name="Oval 14">
                <a:extLst>
                  <a:ext uri="{FF2B5EF4-FFF2-40B4-BE49-F238E27FC236}">
                    <a16:creationId xmlns:a16="http://schemas.microsoft.com/office/drawing/2014/main" id="{F7B8DD6A-8790-C014-0EAF-124CB35D408C}"/>
                  </a:ext>
                </a:extLst>
              </p:cNvPr>
              <p:cNvSpPr/>
              <p:nvPr/>
            </p:nvSpPr>
            <p:spPr>
              <a:xfrm>
                <a:off x="700092" y="2953506"/>
                <a:ext cx="591670" cy="591670"/>
              </a:xfrm>
              <a:prstGeom prst="ellipse">
                <a:avLst/>
              </a:prstGeom>
              <a:solidFill>
                <a:srgbClr val="212D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prstClr val="white"/>
                  </a:solidFill>
                  <a:latin typeface="Arial" panose="020B0604020202020204"/>
                </a:endParaRPr>
              </a:p>
            </p:txBody>
          </p:sp>
          <p:pic>
            <p:nvPicPr>
              <p:cNvPr id="28" name="Graphic 27">
                <a:extLst>
                  <a:ext uri="{FF2B5EF4-FFF2-40B4-BE49-F238E27FC236}">
                    <a16:creationId xmlns:a16="http://schemas.microsoft.com/office/drawing/2014/main" id="{360207FE-43AF-00C2-713E-33AC2A5E85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9360" y="3080685"/>
                <a:ext cx="350921" cy="350921"/>
              </a:xfrm>
              <a:prstGeom prst="rect">
                <a:avLst/>
              </a:prstGeom>
            </p:spPr>
          </p:pic>
        </p:grpSp>
        <p:grpSp>
          <p:nvGrpSpPr>
            <p:cNvPr id="38" name="Group 37">
              <a:extLst>
                <a:ext uri="{FF2B5EF4-FFF2-40B4-BE49-F238E27FC236}">
                  <a16:creationId xmlns:a16="http://schemas.microsoft.com/office/drawing/2014/main" id="{7C1CF633-9D42-1EB0-832E-D38113BCE851}"/>
                </a:ext>
              </a:extLst>
            </p:cNvPr>
            <p:cNvGrpSpPr/>
            <p:nvPr/>
          </p:nvGrpSpPr>
          <p:grpSpPr>
            <a:xfrm>
              <a:off x="615116" y="3981374"/>
              <a:ext cx="643120" cy="643120"/>
              <a:chOff x="700092" y="3904863"/>
              <a:chExt cx="591670" cy="591670"/>
            </a:xfrm>
            <a:solidFill>
              <a:schemeClr val="accent1"/>
            </a:solidFill>
          </p:grpSpPr>
          <p:sp>
            <p:nvSpPr>
              <p:cNvPr id="17" name="Oval 16">
                <a:extLst>
                  <a:ext uri="{FF2B5EF4-FFF2-40B4-BE49-F238E27FC236}">
                    <a16:creationId xmlns:a16="http://schemas.microsoft.com/office/drawing/2014/main" id="{309CC530-7FB0-CCCF-58F4-BE4528130D10}"/>
                  </a:ext>
                </a:extLst>
              </p:cNvPr>
              <p:cNvSpPr/>
              <p:nvPr/>
            </p:nvSpPr>
            <p:spPr>
              <a:xfrm>
                <a:off x="700092" y="3904863"/>
                <a:ext cx="591670" cy="591670"/>
              </a:xfrm>
              <a:prstGeom prst="ellipse">
                <a:avLst/>
              </a:prstGeom>
              <a:solidFill>
                <a:srgbClr val="212D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prstClr val="white"/>
                  </a:solidFill>
                  <a:latin typeface="Arial" panose="020B0604020202020204"/>
                </a:endParaRPr>
              </a:p>
            </p:txBody>
          </p:sp>
          <p:pic>
            <p:nvPicPr>
              <p:cNvPr id="34" name="Graphic 33">
                <a:extLst>
                  <a:ext uri="{FF2B5EF4-FFF2-40B4-BE49-F238E27FC236}">
                    <a16:creationId xmlns:a16="http://schemas.microsoft.com/office/drawing/2014/main" id="{D64F5B0B-B67A-7826-7874-4FAD90A87B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3669" y="4005350"/>
                <a:ext cx="378995" cy="378995"/>
              </a:xfrm>
              <a:prstGeom prst="rect">
                <a:avLst/>
              </a:prstGeom>
            </p:spPr>
          </p:pic>
        </p:grpSp>
        <p:grpSp>
          <p:nvGrpSpPr>
            <p:cNvPr id="39" name="Group 38">
              <a:extLst>
                <a:ext uri="{FF2B5EF4-FFF2-40B4-BE49-F238E27FC236}">
                  <a16:creationId xmlns:a16="http://schemas.microsoft.com/office/drawing/2014/main" id="{0C5D68AD-8BCC-C199-6CF8-6FB88AEFF4FF}"/>
                </a:ext>
              </a:extLst>
            </p:cNvPr>
            <p:cNvGrpSpPr/>
            <p:nvPr/>
          </p:nvGrpSpPr>
          <p:grpSpPr>
            <a:xfrm>
              <a:off x="615116" y="4823580"/>
              <a:ext cx="643120" cy="643120"/>
              <a:chOff x="700092" y="4856221"/>
              <a:chExt cx="591670" cy="591670"/>
            </a:xfrm>
            <a:solidFill>
              <a:schemeClr val="accent1"/>
            </a:solidFill>
          </p:grpSpPr>
          <p:sp>
            <p:nvSpPr>
              <p:cNvPr id="19" name="Oval 18">
                <a:extLst>
                  <a:ext uri="{FF2B5EF4-FFF2-40B4-BE49-F238E27FC236}">
                    <a16:creationId xmlns:a16="http://schemas.microsoft.com/office/drawing/2014/main" id="{9AB9C1AA-140B-9FE6-2152-9D3A0D8D056D}"/>
                  </a:ext>
                </a:extLst>
              </p:cNvPr>
              <p:cNvSpPr/>
              <p:nvPr/>
            </p:nvSpPr>
            <p:spPr>
              <a:xfrm>
                <a:off x="700092" y="4856221"/>
                <a:ext cx="591670" cy="591670"/>
              </a:xfrm>
              <a:prstGeom prst="ellipse">
                <a:avLst/>
              </a:prstGeom>
              <a:solidFill>
                <a:srgbClr val="212D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prstClr val="white"/>
                  </a:solidFill>
                  <a:latin typeface="Arial" panose="020B0604020202020204"/>
                </a:endParaRPr>
              </a:p>
            </p:txBody>
          </p:sp>
          <p:pic>
            <p:nvPicPr>
              <p:cNvPr id="36" name="Graphic 35">
                <a:extLst>
                  <a:ext uri="{FF2B5EF4-FFF2-40B4-BE49-F238E27FC236}">
                    <a16:creationId xmlns:a16="http://schemas.microsoft.com/office/drawing/2014/main" id="{E20188A2-B66D-A7E9-2AB4-FC96EFBE39B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2111" y="4964171"/>
                <a:ext cx="380684" cy="380684"/>
              </a:xfrm>
              <a:prstGeom prst="rect">
                <a:avLst/>
              </a:prstGeom>
            </p:spPr>
          </p:pic>
        </p:grpSp>
        <p:pic>
          <p:nvPicPr>
            <p:cNvPr id="5" name="Graphic 4">
              <a:extLst>
                <a:ext uri="{FF2B5EF4-FFF2-40B4-BE49-F238E27FC236}">
                  <a16:creationId xmlns:a16="http://schemas.microsoft.com/office/drawing/2014/main" id="{BFE7B1C9-9AC6-F5BA-6C02-2FF25F1F6D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49944" y="4252551"/>
              <a:ext cx="417206" cy="417206"/>
            </a:xfrm>
            <a:prstGeom prst="rect">
              <a:avLst/>
            </a:prstGeom>
          </p:spPr>
        </p:pic>
      </p:grpSp>
      <p:grpSp>
        <p:nvGrpSpPr>
          <p:cNvPr id="27" name="Group 26">
            <a:extLst>
              <a:ext uri="{FF2B5EF4-FFF2-40B4-BE49-F238E27FC236}">
                <a16:creationId xmlns:a16="http://schemas.microsoft.com/office/drawing/2014/main" id="{169BF01A-4086-66DD-A508-08BBD43A4F9A}"/>
              </a:ext>
            </a:extLst>
          </p:cNvPr>
          <p:cNvGrpSpPr/>
          <p:nvPr/>
        </p:nvGrpSpPr>
        <p:grpSpPr>
          <a:xfrm>
            <a:off x="719655" y="1965654"/>
            <a:ext cx="5358391" cy="3756930"/>
            <a:chOff x="4568219" y="1888772"/>
            <a:chExt cx="5358391" cy="3756930"/>
          </a:xfrm>
        </p:grpSpPr>
        <p:sp>
          <p:nvSpPr>
            <p:cNvPr id="6" name="TextBox 5">
              <a:extLst>
                <a:ext uri="{FF2B5EF4-FFF2-40B4-BE49-F238E27FC236}">
                  <a16:creationId xmlns:a16="http://schemas.microsoft.com/office/drawing/2014/main" id="{CF2B41EB-8053-1A5B-84AA-A5F3FAA7EA78}"/>
                </a:ext>
              </a:extLst>
            </p:cNvPr>
            <p:cNvSpPr txBox="1"/>
            <p:nvPr/>
          </p:nvSpPr>
          <p:spPr>
            <a:xfrm>
              <a:off x="4610075" y="2825986"/>
              <a:ext cx="2116387" cy="848181"/>
            </a:xfrm>
            <a:prstGeom prst="rect">
              <a:avLst/>
            </a:prstGeom>
            <a:noFill/>
          </p:spPr>
          <p:txBody>
            <a:bodyPr wrap="square" rtlCol="0">
              <a:spAutoFit/>
            </a:bodyPr>
            <a:lstStyle/>
            <a:p>
              <a:pPr algn="l" defTabSz="802020" rtl="0">
                <a:defRPr/>
              </a:pPr>
              <a:r>
                <a:rPr lang="en-US" sz="1228" kern="1200">
                  <a:solidFill>
                    <a:prstClr val="white"/>
                  </a:solidFill>
                  <a:latin typeface="Arial" panose="020B0604020202020204"/>
                  <a:ea typeface="+mn-ea"/>
                  <a:cs typeface="+mn-cs"/>
                </a:rPr>
                <a:t>of financial customers say they would switch providers for better digital experiences.</a:t>
              </a:r>
              <a:r>
                <a:rPr lang="en-US" sz="1228" kern="1200" baseline="30000">
                  <a:solidFill>
                    <a:prstClr val="white"/>
                  </a:solidFill>
                  <a:latin typeface="Arial" panose="020B0604020202020204"/>
                  <a:ea typeface="+mn-ea"/>
                  <a:cs typeface="+mn-cs"/>
                </a:rPr>
                <a:t>1</a:t>
              </a:r>
            </a:p>
          </p:txBody>
        </p:sp>
        <p:sp>
          <p:nvSpPr>
            <p:cNvPr id="8" name="TextBox 7">
              <a:extLst>
                <a:ext uri="{FF2B5EF4-FFF2-40B4-BE49-F238E27FC236}">
                  <a16:creationId xmlns:a16="http://schemas.microsoft.com/office/drawing/2014/main" id="{A130D983-77D0-E312-4A74-0664592512AF}"/>
                </a:ext>
              </a:extLst>
            </p:cNvPr>
            <p:cNvSpPr txBox="1"/>
            <p:nvPr/>
          </p:nvSpPr>
          <p:spPr>
            <a:xfrm>
              <a:off x="4568219" y="4797521"/>
              <a:ext cx="2512568" cy="848181"/>
            </a:xfrm>
            <a:prstGeom prst="rect">
              <a:avLst/>
            </a:prstGeom>
            <a:noFill/>
          </p:spPr>
          <p:txBody>
            <a:bodyPr wrap="square" rtlCol="0">
              <a:spAutoFit/>
            </a:bodyPr>
            <a:lstStyle/>
            <a:p>
              <a:pPr algn="l" defTabSz="802020" rtl="0">
                <a:spcBef>
                  <a:spcPts val="1579"/>
                </a:spcBef>
                <a:defRPr/>
              </a:pPr>
              <a:r>
                <a:rPr lang="en-US" sz="1228" b="1" kern="1200">
                  <a:solidFill>
                    <a:prstClr val="white"/>
                  </a:solidFill>
                  <a:latin typeface="Arial" panose="020B0604020202020204"/>
                  <a:ea typeface="+mn-ea"/>
                  <a:cs typeface="+mn-cs"/>
                </a:rPr>
                <a:t>Email compromise </a:t>
              </a:r>
              <a:r>
                <a:rPr lang="en-US" sz="1228" kern="1200">
                  <a:solidFill>
                    <a:prstClr val="white"/>
                  </a:solidFill>
                  <a:latin typeface="Arial" panose="020B0604020202020204"/>
                  <a:ea typeface="+mn-ea"/>
                  <a:cs typeface="+mn-cs"/>
                </a:rPr>
                <a:t>and </a:t>
              </a:r>
              <a:r>
                <a:rPr lang="en-US" sz="1228" b="1" kern="1200">
                  <a:solidFill>
                    <a:prstClr val="white"/>
                  </a:solidFill>
                  <a:latin typeface="Arial" panose="020B0604020202020204"/>
                  <a:ea typeface="+mn-ea"/>
                  <a:cs typeface="+mn-cs"/>
                </a:rPr>
                <a:t>business email compromise</a:t>
              </a:r>
              <a:r>
                <a:rPr lang="en-US" sz="1228" kern="1200">
                  <a:solidFill>
                    <a:prstClr val="white"/>
                  </a:solidFill>
                  <a:latin typeface="Arial" panose="020B0604020202020204"/>
                  <a:ea typeface="+mn-ea"/>
                  <a:cs typeface="+mn-cs"/>
                </a:rPr>
                <a:t> are the top sources of cybercrime in Australia.</a:t>
              </a:r>
              <a:r>
                <a:rPr lang="en-US" sz="965" baseline="30000">
                  <a:solidFill>
                    <a:prstClr val="white"/>
                  </a:solidFill>
                  <a:latin typeface="Arial" panose="020B0604020202020204"/>
                  <a:ea typeface="+mn-ea"/>
                  <a:cs typeface="+mn-cs"/>
                  <a:sym typeface="Montserrat"/>
                </a:rPr>
                <a:t>2</a:t>
              </a:r>
              <a:endParaRPr lang="en-US" sz="1228" kern="1200">
                <a:solidFill>
                  <a:prstClr val="white"/>
                </a:solidFill>
                <a:latin typeface="Arial" panose="020B0604020202020204"/>
                <a:ea typeface="+mn-ea"/>
                <a:cs typeface="+mn-cs"/>
              </a:endParaRPr>
            </a:p>
          </p:txBody>
        </p:sp>
        <p:sp>
          <p:nvSpPr>
            <p:cNvPr id="11" name="TextBox 10">
              <a:extLst>
                <a:ext uri="{FF2B5EF4-FFF2-40B4-BE49-F238E27FC236}">
                  <a16:creationId xmlns:a16="http://schemas.microsoft.com/office/drawing/2014/main" id="{540EC450-C1D9-9A08-1339-23888F1A98D1}"/>
                </a:ext>
              </a:extLst>
            </p:cNvPr>
            <p:cNvSpPr txBox="1"/>
            <p:nvPr/>
          </p:nvSpPr>
          <p:spPr>
            <a:xfrm>
              <a:off x="7347739" y="4797521"/>
              <a:ext cx="2578871" cy="848181"/>
            </a:xfrm>
            <a:prstGeom prst="rect">
              <a:avLst/>
            </a:prstGeom>
            <a:noFill/>
          </p:spPr>
          <p:txBody>
            <a:bodyPr wrap="square" rtlCol="0">
              <a:spAutoFit/>
            </a:bodyPr>
            <a:lstStyle/>
            <a:p>
              <a:pPr algn="l" defTabSz="802020" rtl="0">
                <a:spcBef>
                  <a:spcPts val="1579"/>
                </a:spcBef>
                <a:defRPr/>
              </a:pPr>
              <a:r>
                <a:rPr lang="en-US" sz="1228" kern="1200">
                  <a:solidFill>
                    <a:prstClr val="white"/>
                  </a:solidFill>
                  <a:latin typeface="Arial" panose="020B0604020202020204"/>
                  <a:ea typeface="+mn-ea"/>
                  <a:cs typeface="+mn-cs"/>
                </a:rPr>
                <a:t>The use of digital signatures reduces customer onboarding times by </a:t>
              </a:r>
              <a:r>
                <a:rPr lang="en-US" sz="1228" b="1" kern="1200">
                  <a:solidFill>
                    <a:prstClr val="white"/>
                  </a:solidFill>
                  <a:latin typeface="Arial" panose="020B0604020202020204"/>
                  <a:ea typeface="+mn-ea"/>
                  <a:cs typeface="+mn-cs"/>
                </a:rPr>
                <a:t>41%</a:t>
              </a:r>
              <a:r>
                <a:rPr lang="en-US" sz="1228" kern="1200">
                  <a:solidFill>
                    <a:prstClr val="white"/>
                  </a:solidFill>
                  <a:latin typeface="Arial" panose="020B0604020202020204"/>
                  <a:ea typeface="+mn-ea"/>
                  <a:cs typeface="+mn-cs"/>
                </a:rPr>
                <a:t> the time to contract completion by </a:t>
              </a:r>
              <a:r>
                <a:rPr lang="en-US" sz="1228" b="1" kern="1200">
                  <a:solidFill>
                    <a:prstClr val="white"/>
                  </a:solidFill>
                  <a:latin typeface="Arial" panose="020B0604020202020204"/>
                  <a:ea typeface="+mn-ea"/>
                  <a:cs typeface="+mn-cs"/>
                </a:rPr>
                <a:t>68%.</a:t>
              </a:r>
              <a:r>
                <a:rPr lang="en-US" sz="1228" kern="1200" baseline="30000">
                  <a:solidFill>
                    <a:prstClr val="white"/>
                  </a:solidFill>
                  <a:latin typeface="Arial" panose="020B0604020202020204"/>
                  <a:ea typeface="+mn-ea"/>
                  <a:cs typeface="+mn-cs"/>
                </a:rPr>
                <a:t>3</a:t>
              </a:r>
            </a:p>
          </p:txBody>
        </p:sp>
        <p:sp>
          <p:nvSpPr>
            <p:cNvPr id="13" name="TextBox 12">
              <a:extLst>
                <a:ext uri="{FF2B5EF4-FFF2-40B4-BE49-F238E27FC236}">
                  <a16:creationId xmlns:a16="http://schemas.microsoft.com/office/drawing/2014/main" id="{0248754C-66CD-9A7C-1EEC-3FC4D41ABAFA}"/>
                </a:ext>
              </a:extLst>
            </p:cNvPr>
            <p:cNvSpPr txBox="1"/>
            <p:nvPr/>
          </p:nvSpPr>
          <p:spPr>
            <a:xfrm>
              <a:off x="7347739" y="2823288"/>
              <a:ext cx="2444836" cy="659219"/>
            </a:xfrm>
            <a:prstGeom prst="rect">
              <a:avLst/>
            </a:prstGeom>
            <a:noFill/>
          </p:spPr>
          <p:txBody>
            <a:bodyPr wrap="square" rtlCol="0">
              <a:spAutoFit/>
            </a:bodyPr>
            <a:lstStyle/>
            <a:p>
              <a:pPr algn="l" defTabSz="802020" rtl="0">
                <a:defRPr/>
              </a:pPr>
              <a:r>
                <a:rPr lang="en-US" sz="1228" kern="1200">
                  <a:solidFill>
                    <a:prstClr val="white"/>
                  </a:solidFill>
                  <a:latin typeface="Arial" panose="020B0604020202020204"/>
                  <a:ea typeface="+mn-ea"/>
                  <a:cs typeface="+mn-cs"/>
                </a:rPr>
                <a:t>of businesses still email sensitive client documents direct to clients (such as SOAs).</a:t>
              </a:r>
              <a:r>
                <a:rPr lang="en-US" sz="1228" kern="1200" baseline="30000">
                  <a:solidFill>
                    <a:prstClr val="white"/>
                  </a:solidFill>
                  <a:latin typeface="Arial" panose="020B0604020202020204"/>
                  <a:ea typeface="+mn-ea"/>
                  <a:cs typeface="+mn-cs"/>
                </a:rPr>
                <a:t>4</a:t>
              </a:r>
            </a:p>
          </p:txBody>
        </p:sp>
        <p:cxnSp>
          <p:nvCxnSpPr>
            <p:cNvPr id="20" name="Straight Connector 19">
              <a:extLst>
                <a:ext uri="{FF2B5EF4-FFF2-40B4-BE49-F238E27FC236}">
                  <a16:creationId xmlns:a16="http://schemas.microsoft.com/office/drawing/2014/main" id="{8B0ED958-A911-1D7C-8A5D-FB513A2527F5}"/>
                </a:ext>
              </a:extLst>
            </p:cNvPr>
            <p:cNvCxnSpPr>
              <a:cxnSpLocks/>
            </p:cNvCxnSpPr>
            <p:nvPr/>
          </p:nvCxnSpPr>
          <p:spPr>
            <a:xfrm>
              <a:off x="7331367" y="3919902"/>
              <a:ext cx="2467367" cy="0"/>
            </a:xfrm>
            <a:prstGeom prst="line">
              <a:avLst/>
            </a:prstGeom>
            <a:ln w="9525">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94EA3AAA-7629-B76E-26A1-3060F9E2D5A6}"/>
                </a:ext>
              </a:extLst>
            </p:cNvPr>
            <p:cNvCxnSpPr>
              <a:cxnSpLocks/>
            </p:cNvCxnSpPr>
            <p:nvPr/>
          </p:nvCxnSpPr>
          <p:spPr>
            <a:xfrm>
              <a:off x="4570722" y="3919902"/>
              <a:ext cx="2467367" cy="0"/>
            </a:xfrm>
            <a:prstGeom prst="line">
              <a:avLst/>
            </a:prstGeom>
            <a:ln w="9525">
              <a:solidFill>
                <a:schemeClr val="bg1"/>
              </a:solidFill>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A5C3CA64-D2A2-BF10-2660-00E45F308C62}"/>
                </a:ext>
              </a:extLst>
            </p:cNvPr>
            <p:cNvSpPr txBox="1"/>
            <p:nvPr/>
          </p:nvSpPr>
          <p:spPr>
            <a:xfrm>
              <a:off x="4610075" y="2104008"/>
              <a:ext cx="1954722" cy="821122"/>
            </a:xfrm>
            <a:prstGeom prst="rect">
              <a:avLst/>
            </a:prstGeom>
            <a:noFill/>
          </p:spPr>
          <p:txBody>
            <a:bodyPr wrap="square" rtlCol="0">
              <a:spAutoFit/>
            </a:bodyPr>
            <a:lstStyle/>
            <a:p>
              <a:pPr algn="l" defTabSz="802020" rtl="0">
                <a:defRPr/>
              </a:pPr>
              <a:r>
                <a:rPr lang="en-US" sz="4736" b="1" kern="1200" dirty="0">
                  <a:solidFill>
                    <a:srgbClr val="FFBE37"/>
                  </a:solidFill>
                  <a:latin typeface="Arial" panose="020B0604020202020204"/>
                  <a:ea typeface="+mn-ea"/>
                  <a:cs typeface="+mn-cs"/>
                </a:rPr>
                <a:t>53%</a:t>
              </a:r>
              <a:endParaRPr lang="en-US" sz="4736" kern="1200" baseline="30000" dirty="0">
                <a:solidFill>
                  <a:srgbClr val="FFBE37"/>
                </a:solidFill>
                <a:latin typeface="Arial" panose="020B0604020202020204"/>
                <a:ea typeface="+mn-ea"/>
                <a:cs typeface="+mn-cs"/>
              </a:endParaRPr>
            </a:p>
          </p:txBody>
        </p:sp>
        <p:sp>
          <p:nvSpPr>
            <p:cNvPr id="21" name="TextBox 20">
              <a:extLst>
                <a:ext uri="{FF2B5EF4-FFF2-40B4-BE49-F238E27FC236}">
                  <a16:creationId xmlns:a16="http://schemas.microsoft.com/office/drawing/2014/main" id="{220084DA-98CB-CC49-124B-8C508C700477}"/>
                </a:ext>
              </a:extLst>
            </p:cNvPr>
            <p:cNvSpPr txBox="1"/>
            <p:nvPr/>
          </p:nvSpPr>
          <p:spPr>
            <a:xfrm>
              <a:off x="7303023" y="2057572"/>
              <a:ext cx="1954722" cy="821122"/>
            </a:xfrm>
            <a:prstGeom prst="rect">
              <a:avLst/>
            </a:prstGeom>
            <a:noFill/>
          </p:spPr>
          <p:txBody>
            <a:bodyPr wrap="square" rtlCol="0">
              <a:spAutoFit/>
            </a:bodyPr>
            <a:lstStyle/>
            <a:p>
              <a:pPr algn="l" defTabSz="802020" rtl="0">
                <a:defRPr/>
              </a:pPr>
              <a:r>
                <a:rPr lang="en-US" sz="4736" b="1" kern="1200">
                  <a:solidFill>
                    <a:srgbClr val="FFBE37"/>
                  </a:solidFill>
                  <a:latin typeface="Arial" panose="020B0604020202020204"/>
                  <a:ea typeface="+mn-ea"/>
                  <a:cs typeface="+mn-cs"/>
                </a:rPr>
                <a:t>74%</a:t>
              </a:r>
              <a:endParaRPr lang="en-US" sz="4736" kern="1200" baseline="30000">
                <a:solidFill>
                  <a:srgbClr val="FFBE37"/>
                </a:solidFill>
                <a:latin typeface="Arial" panose="020B0604020202020204"/>
                <a:ea typeface="+mn-ea"/>
                <a:cs typeface="+mn-cs"/>
              </a:endParaRPr>
            </a:p>
          </p:txBody>
        </p:sp>
        <p:grpSp>
          <p:nvGrpSpPr>
            <p:cNvPr id="24" name="Group 23">
              <a:extLst>
                <a:ext uri="{FF2B5EF4-FFF2-40B4-BE49-F238E27FC236}">
                  <a16:creationId xmlns:a16="http://schemas.microsoft.com/office/drawing/2014/main" id="{5F88B5C9-A5B8-B37A-F843-33C4D93207B8}"/>
                </a:ext>
              </a:extLst>
            </p:cNvPr>
            <p:cNvGrpSpPr/>
            <p:nvPr/>
          </p:nvGrpSpPr>
          <p:grpSpPr>
            <a:xfrm>
              <a:off x="4696464" y="1888772"/>
              <a:ext cx="2089556" cy="131032"/>
              <a:chOff x="5673365" y="1625976"/>
              <a:chExt cx="2382392" cy="149395"/>
            </a:xfrm>
          </p:grpSpPr>
          <p:sp>
            <p:nvSpPr>
              <p:cNvPr id="29" name="Rectangle: Rounded Corners 28">
                <a:extLst>
                  <a:ext uri="{FF2B5EF4-FFF2-40B4-BE49-F238E27FC236}">
                    <a16:creationId xmlns:a16="http://schemas.microsoft.com/office/drawing/2014/main" id="{DB548F1C-2526-A637-3AB4-9B3B60F9B233}"/>
                  </a:ext>
                </a:extLst>
              </p:cNvPr>
              <p:cNvSpPr/>
              <p:nvPr/>
            </p:nvSpPr>
            <p:spPr>
              <a:xfrm>
                <a:off x="5673365" y="1625976"/>
                <a:ext cx="2382392" cy="149395"/>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prstClr val="white"/>
                  </a:solidFill>
                  <a:latin typeface="Arial" panose="020B0604020202020204"/>
                </a:endParaRPr>
              </a:p>
            </p:txBody>
          </p:sp>
          <p:sp>
            <p:nvSpPr>
              <p:cNvPr id="30" name="Rectangle: Rounded Corners 29">
                <a:extLst>
                  <a:ext uri="{FF2B5EF4-FFF2-40B4-BE49-F238E27FC236}">
                    <a16:creationId xmlns:a16="http://schemas.microsoft.com/office/drawing/2014/main" id="{803B9809-3F90-C21E-056D-2BC5DF94D97D}"/>
                  </a:ext>
                </a:extLst>
              </p:cNvPr>
              <p:cNvSpPr/>
              <p:nvPr/>
            </p:nvSpPr>
            <p:spPr>
              <a:xfrm>
                <a:off x="5673366" y="1625976"/>
                <a:ext cx="1332452" cy="149395"/>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prstClr val="white"/>
                  </a:solidFill>
                  <a:latin typeface="Arial" panose="020B0604020202020204"/>
                </a:endParaRPr>
              </a:p>
            </p:txBody>
          </p:sp>
        </p:grpSp>
        <p:grpSp>
          <p:nvGrpSpPr>
            <p:cNvPr id="31" name="Group 30">
              <a:extLst>
                <a:ext uri="{FF2B5EF4-FFF2-40B4-BE49-F238E27FC236}">
                  <a16:creationId xmlns:a16="http://schemas.microsoft.com/office/drawing/2014/main" id="{0E03B9DA-DE38-F18C-91DE-0928C75DA54C}"/>
                </a:ext>
              </a:extLst>
            </p:cNvPr>
            <p:cNvGrpSpPr/>
            <p:nvPr/>
          </p:nvGrpSpPr>
          <p:grpSpPr>
            <a:xfrm>
              <a:off x="7368547" y="1888772"/>
              <a:ext cx="2089556" cy="131032"/>
              <a:chOff x="8719921" y="1625976"/>
              <a:chExt cx="2382392" cy="149395"/>
            </a:xfrm>
          </p:grpSpPr>
          <p:sp>
            <p:nvSpPr>
              <p:cNvPr id="35" name="Rectangle: Rounded Corners 34">
                <a:extLst>
                  <a:ext uri="{FF2B5EF4-FFF2-40B4-BE49-F238E27FC236}">
                    <a16:creationId xmlns:a16="http://schemas.microsoft.com/office/drawing/2014/main" id="{CF34963D-4ACD-12E3-6861-8C6832D7A8B5}"/>
                  </a:ext>
                </a:extLst>
              </p:cNvPr>
              <p:cNvSpPr/>
              <p:nvPr/>
            </p:nvSpPr>
            <p:spPr>
              <a:xfrm>
                <a:off x="8719921" y="1625976"/>
                <a:ext cx="2382392" cy="149395"/>
              </a:xfrm>
              <a:prstGeom prst="round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prstClr val="white"/>
                  </a:solidFill>
                  <a:latin typeface="Arial" panose="020B0604020202020204"/>
                </a:endParaRPr>
              </a:p>
            </p:txBody>
          </p:sp>
          <p:sp>
            <p:nvSpPr>
              <p:cNvPr id="42" name="Rectangle: Rounded Corners 41">
                <a:extLst>
                  <a:ext uri="{FF2B5EF4-FFF2-40B4-BE49-F238E27FC236}">
                    <a16:creationId xmlns:a16="http://schemas.microsoft.com/office/drawing/2014/main" id="{3A02FD87-5329-0923-2024-E007FF9C29AD}"/>
                  </a:ext>
                </a:extLst>
              </p:cNvPr>
              <p:cNvSpPr/>
              <p:nvPr/>
            </p:nvSpPr>
            <p:spPr>
              <a:xfrm>
                <a:off x="8719921" y="1625976"/>
                <a:ext cx="1663817" cy="149395"/>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US" sz="1579" kern="1200">
                  <a:solidFill>
                    <a:prstClr val="white"/>
                  </a:solidFill>
                  <a:latin typeface="Arial" panose="020B0604020202020204"/>
                </a:endParaRPr>
              </a:p>
            </p:txBody>
          </p:sp>
        </p:grpSp>
        <p:pic>
          <p:nvPicPr>
            <p:cNvPr id="12" name="Graphic 11">
              <a:extLst>
                <a:ext uri="{FF2B5EF4-FFF2-40B4-BE49-F238E27FC236}">
                  <a16:creationId xmlns:a16="http://schemas.microsoft.com/office/drawing/2014/main" id="{8C3C1B53-8214-200D-80B5-519D30BB160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39632" y="4251669"/>
              <a:ext cx="417206" cy="417206"/>
            </a:xfrm>
            <a:prstGeom prst="rect">
              <a:avLst/>
            </a:prstGeom>
          </p:spPr>
        </p:pic>
      </p:grpSp>
      <p:cxnSp>
        <p:nvCxnSpPr>
          <p:cNvPr id="9" name="Straight Connector 8">
            <a:extLst>
              <a:ext uri="{FF2B5EF4-FFF2-40B4-BE49-F238E27FC236}">
                <a16:creationId xmlns:a16="http://schemas.microsoft.com/office/drawing/2014/main" id="{75E7E0FC-36DD-FCC3-EEDB-AB2C491362CB}"/>
              </a:ext>
            </a:extLst>
          </p:cNvPr>
          <p:cNvCxnSpPr>
            <a:cxnSpLocks/>
          </p:cNvCxnSpPr>
          <p:nvPr/>
        </p:nvCxnSpPr>
        <p:spPr>
          <a:xfrm>
            <a:off x="533345" y="1644650"/>
            <a:ext cx="385321"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E25A26E3-7B65-1F6D-7633-D61A5005395A}"/>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l="3" t="-1" r="73506" b="75689"/>
          <a:stretch/>
        </p:blipFill>
        <p:spPr>
          <a:xfrm rot="10800000" flipH="1">
            <a:off x="9257656" y="770731"/>
            <a:ext cx="1416090" cy="1456453"/>
          </a:xfrm>
          <a:prstGeom prst="rect">
            <a:avLst/>
          </a:prstGeom>
        </p:spPr>
      </p:pic>
      <p:sp>
        <p:nvSpPr>
          <p:cNvPr id="10" name="TextBox 9">
            <a:extLst>
              <a:ext uri="{FF2B5EF4-FFF2-40B4-BE49-F238E27FC236}">
                <a16:creationId xmlns:a16="http://schemas.microsoft.com/office/drawing/2014/main" id="{C59F7AD2-EB37-B9FF-5790-3BB40D5CEC35}"/>
              </a:ext>
            </a:extLst>
          </p:cNvPr>
          <p:cNvSpPr txBox="1"/>
          <p:nvPr/>
        </p:nvSpPr>
        <p:spPr>
          <a:xfrm>
            <a:off x="507945" y="868397"/>
            <a:ext cx="5632407" cy="481094"/>
          </a:xfrm>
          <a:prstGeom prst="rect">
            <a:avLst/>
          </a:prstGeom>
          <a:noFill/>
        </p:spPr>
        <p:txBody>
          <a:bodyPr wrap="square" rtlCol="0">
            <a:spAutoFit/>
          </a:bodyPr>
          <a:lstStyle/>
          <a:p>
            <a:pPr algn="l" defTabSz="802020" rtl="0">
              <a:lnSpc>
                <a:spcPct val="90000"/>
              </a:lnSpc>
              <a:defRPr/>
            </a:pPr>
            <a:r>
              <a:rPr lang="en-US" sz="2800" b="1" kern="1200" spc="-44" dirty="0">
                <a:solidFill>
                  <a:prstClr val="white"/>
                </a:solidFill>
                <a:latin typeface="Arial" panose="020B0604020202020204"/>
                <a:ea typeface="+mn-ea"/>
                <a:cs typeface="+mn-cs"/>
              </a:rPr>
              <a:t>Why do I need a client portal…</a:t>
            </a:r>
          </a:p>
        </p:txBody>
      </p:sp>
    </p:spTree>
    <p:extLst>
      <p:ext uri="{BB962C8B-B14F-4D97-AF65-F5344CB8AC3E}">
        <p14:creationId xmlns:p14="http://schemas.microsoft.com/office/powerpoint/2010/main" val="60832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Content Placeholder 3">
            <a:extLst>
              <a:ext uri="{FF2B5EF4-FFF2-40B4-BE49-F238E27FC236}">
                <a16:creationId xmlns:a16="http://schemas.microsoft.com/office/drawing/2014/main" id="{EC0A0A95-86AF-B649-6064-77D10728A6B1}"/>
              </a:ext>
            </a:extLst>
          </p:cNvPr>
          <p:cNvSpPr txBox="1">
            <a:spLocks/>
          </p:cNvSpPr>
          <p:nvPr/>
        </p:nvSpPr>
        <p:spPr>
          <a:xfrm>
            <a:off x="526279" y="2072187"/>
            <a:ext cx="8423846" cy="338554"/>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effectLst/>
                <a:uLnTx/>
                <a:uFillTx/>
                <a:latin typeface="+mj-lt"/>
                <a:ea typeface="Verdana" panose="020B0604030504040204" pitchFamily="34" charset="0"/>
              </a:defRPr>
            </a:lvl1pPr>
            <a:lvl2pPr marL="514353" indent="-171451" algn="l" defTabSz="685804" rtl="0" eaLnBrk="1" latinLnBrk="0" hangingPunct="1">
              <a:lnSpc>
                <a:spcPct val="90000"/>
              </a:lnSpc>
              <a:spcBef>
                <a:spcPts val="375"/>
              </a:spcBef>
              <a:buFont typeface="Arial" panose="020B0604020202020204" pitchFamily="34" charset="0"/>
              <a:buChar char="•"/>
              <a:defRPr sz="1050" kern="1200">
                <a:solidFill>
                  <a:schemeClr val="bg1"/>
                </a:solidFill>
                <a:latin typeface="+mn-lt"/>
                <a:ea typeface="+mn-ea"/>
                <a:cs typeface="+mn-cs"/>
              </a:defRPr>
            </a:lvl2pPr>
            <a:lvl3pPr marL="857256" indent="-171451" algn="l" defTabSz="685804" rtl="0" eaLnBrk="1" latinLnBrk="0" hangingPunct="1">
              <a:lnSpc>
                <a:spcPct val="90000"/>
              </a:lnSpc>
              <a:spcBef>
                <a:spcPts val="375"/>
              </a:spcBef>
              <a:buFont typeface="Arial" panose="020B0604020202020204" pitchFamily="34" charset="0"/>
              <a:buChar char="•"/>
              <a:defRPr sz="900" kern="1200">
                <a:solidFill>
                  <a:schemeClr val="bg1"/>
                </a:solidFill>
                <a:latin typeface="+mn-lt"/>
                <a:ea typeface="+mn-ea"/>
                <a:cs typeface="+mn-cs"/>
              </a:defRPr>
            </a:lvl3pPr>
            <a:lvl4pPr marL="1200158" indent="-171451" algn="l" defTabSz="685804" rtl="0" eaLnBrk="1" latinLnBrk="0" hangingPunct="1">
              <a:lnSpc>
                <a:spcPct val="90000"/>
              </a:lnSpc>
              <a:spcBef>
                <a:spcPts val="375"/>
              </a:spcBef>
              <a:buFont typeface="Arial" panose="020B0604020202020204" pitchFamily="34" charset="0"/>
              <a:buChar char="•"/>
              <a:defRPr sz="825" kern="1200">
                <a:solidFill>
                  <a:schemeClr val="bg1"/>
                </a:solidFill>
                <a:latin typeface="+mn-lt"/>
                <a:ea typeface="+mn-ea"/>
                <a:cs typeface="+mn-cs"/>
              </a:defRPr>
            </a:lvl4pPr>
            <a:lvl5pPr marL="1543060" indent="-171451" algn="l" defTabSz="685804" rtl="0" eaLnBrk="1" latinLnBrk="0" hangingPunct="1">
              <a:lnSpc>
                <a:spcPct val="90000"/>
              </a:lnSpc>
              <a:spcBef>
                <a:spcPts val="375"/>
              </a:spcBef>
              <a:buFont typeface="Arial" panose="020B0604020202020204" pitchFamily="34" charset="0"/>
              <a:buChar char="•"/>
              <a:defRPr sz="825" kern="1200">
                <a:solidFill>
                  <a:schemeClr val="bg1"/>
                </a:solidFill>
                <a:latin typeface="+mn-lt"/>
                <a:ea typeface="+mn-ea"/>
                <a:cs typeface="+mn-cs"/>
              </a:defRPr>
            </a:lvl5pPr>
            <a:lvl6pPr marL="1885963" indent="-171451" algn="l" defTabSz="68580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65" indent="-171451" algn="l" defTabSz="68580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67" indent="-171451" algn="l" defTabSz="68580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69" indent="-171451" algn="l" defTabSz="68580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defTabSz="802020" rtl="0">
              <a:defRPr/>
            </a:pPr>
            <a:r>
              <a:rPr lang="en-AU" kern="1200" dirty="0">
                <a:solidFill>
                  <a:prstClr val="white"/>
                </a:solidFill>
                <a:latin typeface="Arial" panose="020B0604020202020204"/>
                <a:cs typeface="+mn-cs"/>
              </a:rPr>
              <a:t>How can you transform client engagement?</a:t>
            </a:r>
          </a:p>
        </p:txBody>
      </p:sp>
      <p:grpSp>
        <p:nvGrpSpPr>
          <p:cNvPr id="23" name="Group 22">
            <a:extLst>
              <a:ext uri="{FF2B5EF4-FFF2-40B4-BE49-F238E27FC236}">
                <a16:creationId xmlns:a16="http://schemas.microsoft.com/office/drawing/2014/main" id="{D84E5C9C-C769-6B3F-0797-780901E822D1}"/>
              </a:ext>
            </a:extLst>
          </p:cNvPr>
          <p:cNvGrpSpPr/>
          <p:nvPr/>
        </p:nvGrpSpPr>
        <p:grpSpPr>
          <a:xfrm>
            <a:off x="5338318" y="2812871"/>
            <a:ext cx="5120863" cy="3375546"/>
            <a:chOff x="5451693" y="2910650"/>
            <a:chExt cx="5120863" cy="3375546"/>
          </a:xfrm>
        </p:grpSpPr>
        <p:sp>
          <p:nvSpPr>
            <p:cNvPr id="117" name="Content Placeholder 3">
              <a:extLst>
                <a:ext uri="{FF2B5EF4-FFF2-40B4-BE49-F238E27FC236}">
                  <a16:creationId xmlns:a16="http://schemas.microsoft.com/office/drawing/2014/main" id="{6A183BA2-EA35-0A29-7B37-EFF60E30048D}"/>
                </a:ext>
              </a:extLst>
            </p:cNvPr>
            <p:cNvSpPr txBox="1">
              <a:spLocks/>
            </p:cNvSpPr>
            <p:nvPr/>
          </p:nvSpPr>
          <p:spPr>
            <a:xfrm>
              <a:off x="5503036" y="2910650"/>
              <a:ext cx="4580505" cy="251030"/>
            </a:xfrm>
            <a:prstGeom prst="rect">
              <a:avLst/>
            </a:prstGeom>
          </p:spPr>
          <p:txBody>
            <a:bodyPr vert="horz" wrap="square" lIns="80201" tIns="40100" rIns="80201" bIns="40100" rtlCol="0" anchor="t" anchorCtr="0">
              <a:spAutoFit/>
            </a:bodyPr>
            <a:lstStyle>
              <a:lvl1pPr marL="0" indent="0" algn="l" defTabSz="914406" rtl="0" eaLnBrk="1" latinLnBrk="0" hangingPunct="1">
                <a:lnSpc>
                  <a:spcPct val="90000"/>
                </a:lnSpc>
                <a:spcBef>
                  <a:spcPts val="1000"/>
                </a:spcBef>
                <a:buFont typeface="Arial" panose="020B0604020202020204" pitchFamily="34" charset="0"/>
                <a:buNone/>
                <a:defRPr sz="2400" b="0" kern="1200">
                  <a:solidFill>
                    <a:schemeClr val="accent3"/>
                  </a:solidFill>
                  <a:latin typeface="+mn-lt"/>
                  <a:ea typeface="+mn-ea"/>
                  <a:cs typeface="+mn-cs"/>
                </a:defRPr>
              </a:lvl1pPr>
              <a:lvl2pPr marL="457198" indent="0" algn="l" defTabSz="914406" rtl="0" eaLnBrk="1" latinLnBrk="0" hangingPunct="1">
                <a:lnSpc>
                  <a:spcPct val="90000"/>
                </a:lnSpc>
                <a:spcBef>
                  <a:spcPts val="500"/>
                </a:spcBef>
                <a:buFont typeface="Arial" panose="020B0604020202020204" pitchFamily="34" charset="0"/>
                <a:buNone/>
                <a:defRPr sz="2000" b="1" kern="1200">
                  <a:solidFill>
                    <a:schemeClr val="bg1"/>
                  </a:solidFill>
                  <a:latin typeface="+mn-lt"/>
                  <a:ea typeface="+mn-ea"/>
                  <a:cs typeface="+mn-cs"/>
                </a:defRPr>
              </a:lvl2pPr>
              <a:lvl3pPr marL="914395" indent="0" algn="l" defTabSz="914406" rtl="0" eaLnBrk="1" latinLnBrk="0" hangingPunct="1">
                <a:lnSpc>
                  <a:spcPct val="90000"/>
                </a:lnSpc>
                <a:spcBef>
                  <a:spcPts val="500"/>
                </a:spcBef>
                <a:buFont typeface="Arial" panose="020B0604020202020204" pitchFamily="34" charset="0"/>
                <a:buNone/>
                <a:defRPr sz="1800" b="1" kern="1200">
                  <a:solidFill>
                    <a:schemeClr val="bg1"/>
                  </a:solidFill>
                  <a:latin typeface="+mn-lt"/>
                  <a:ea typeface="+mn-ea"/>
                  <a:cs typeface="+mn-cs"/>
                </a:defRPr>
              </a:lvl3pPr>
              <a:lvl4pPr marL="1371593" indent="0" algn="l" defTabSz="914406" rtl="0" eaLnBrk="1" latinLnBrk="0" hangingPunct="1">
                <a:lnSpc>
                  <a:spcPct val="90000"/>
                </a:lnSpc>
                <a:spcBef>
                  <a:spcPts val="500"/>
                </a:spcBef>
                <a:buFont typeface="Arial" panose="020B0604020202020204" pitchFamily="34" charset="0"/>
                <a:buNone/>
                <a:defRPr sz="1600" b="1" kern="1200">
                  <a:solidFill>
                    <a:schemeClr val="bg1"/>
                  </a:solidFill>
                  <a:latin typeface="+mn-lt"/>
                  <a:ea typeface="+mn-ea"/>
                  <a:cs typeface="+mn-cs"/>
                </a:defRPr>
              </a:lvl4pPr>
              <a:lvl5pPr marL="1828790" indent="0" algn="l" defTabSz="914406" rtl="0" eaLnBrk="1" latinLnBrk="0" hangingPunct="1">
                <a:lnSpc>
                  <a:spcPct val="90000"/>
                </a:lnSpc>
                <a:spcBef>
                  <a:spcPts val="500"/>
                </a:spcBef>
                <a:buFont typeface="Arial" panose="020B0604020202020204" pitchFamily="34" charset="0"/>
                <a:buNone/>
                <a:defRPr sz="1600" b="1" kern="1200">
                  <a:solidFill>
                    <a:schemeClr val="bg1"/>
                  </a:solidFill>
                  <a:latin typeface="+mn-lt"/>
                  <a:ea typeface="+mn-ea"/>
                  <a:cs typeface="+mn-cs"/>
                </a:defRPr>
              </a:lvl5pPr>
              <a:lvl6pPr marL="2285987"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85"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82"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81"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802006">
                <a:spcBef>
                  <a:spcPts val="877"/>
                </a:spcBef>
                <a:defRPr/>
              </a:pPr>
              <a:r>
                <a:rPr lang="en-AU" sz="1228" b="1" dirty="0">
                  <a:solidFill>
                    <a:srgbClr val="FFBE37"/>
                  </a:solidFill>
                  <a:latin typeface="Arial" panose="020B0604020202020204"/>
                  <a:cs typeface="Arial"/>
                </a:rPr>
                <a:t>Future proof your value proposition</a:t>
              </a:r>
            </a:p>
          </p:txBody>
        </p:sp>
        <p:sp>
          <p:nvSpPr>
            <p:cNvPr id="118" name="TextBox 117">
              <a:extLst>
                <a:ext uri="{FF2B5EF4-FFF2-40B4-BE49-F238E27FC236}">
                  <a16:creationId xmlns:a16="http://schemas.microsoft.com/office/drawing/2014/main" id="{77D0C6FD-7653-2197-15BD-28B21668640A}"/>
                </a:ext>
              </a:extLst>
            </p:cNvPr>
            <p:cNvSpPr txBox="1"/>
            <p:nvPr/>
          </p:nvSpPr>
          <p:spPr>
            <a:xfrm>
              <a:off x="5451693" y="3155261"/>
              <a:ext cx="1190408" cy="1131848"/>
            </a:xfrm>
            <a:prstGeom prst="rect">
              <a:avLst/>
            </a:prstGeom>
            <a:noFill/>
          </p:spPr>
          <p:txBody>
            <a:bodyPr wrap="square" rtlCol="0">
              <a:spAutoFit/>
            </a:bodyPr>
            <a:lstStyle>
              <a:defPPr>
                <a:defRPr lang="en-US"/>
              </a:defPPr>
              <a:lvl1pPr marL="171450" indent="-171450">
                <a:buFont typeface="Arial" panose="020B0604020202020204" pitchFamily="34" charset="0"/>
                <a:buChar char="•"/>
                <a:defRPr sz="1050">
                  <a:latin typeface="Proxima Nova" panose="02000506030000020004" pitchFamily="50" charset="0"/>
                </a:defRPr>
              </a:lvl1pPr>
            </a:lstStyle>
            <a:p>
              <a:pPr marL="0" indent="0" algn="l" defTabSz="802000" rtl="0">
                <a:buNone/>
                <a:defRPr/>
              </a:pPr>
              <a:r>
                <a:rPr lang="en-US" sz="965" kern="1200" dirty="0">
                  <a:solidFill>
                    <a:prstClr val="white"/>
                  </a:solidFill>
                  <a:latin typeface="Arial" panose="020B0604020202020204"/>
                  <a:ea typeface="+mn-ea"/>
                  <a:cs typeface="+mn-cs"/>
                </a:rPr>
                <a:t>Secure Online Client portals - central location for collaboration between clients and their financial professionals.</a:t>
              </a:r>
            </a:p>
          </p:txBody>
        </p:sp>
        <p:sp>
          <p:nvSpPr>
            <p:cNvPr id="119" name="TextBox 118">
              <a:extLst>
                <a:ext uri="{FF2B5EF4-FFF2-40B4-BE49-F238E27FC236}">
                  <a16:creationId xmlns:a16="http://schemas.microsoft.com/office/drawing/2014/main" id="{8D2F7A6E-2E44-DF57-9FB2-393B33DD443F}"/>
                </a:ext>
              </a:extLst>
            </p:cNvPr>
            <p:cNvSpPr txBox="1"/>
            <p:nvPr/>
          </p:nvSpPr>
          <p:spPr>
            <a:xfrm>
              <a:off x="5503036" y="5664744"/>
              <a:ext cx="4929199" cy="621452"/>
            </a:xfrm>
            <a:prstGeom prst="rect">
              <a:avLst/>
            </a:prstGeom>
            <a:noFill/>
          </p:spPr>
          <p:txBody>
            <a:bodyPr wrap="square">
              <a:spAutoFit/>
            </a:bodyPr>
            <a:lstStyle/>
            <a:p>
              <a:pPr marL="157874" indent="-157874" algn="l" defTabSz="802000" rtl="0">
                <a:lnSpc>
                  <a:spcPct val="90000"/>
                </a:lnSpc>
                <a:spcBef>
                  <a:spcPts val="526"/>
                </a:spcBef>
                <a:buSzPct val="110000"/>
                <a:buBlip>
                  <a:blip r:embed="rId3"/>
                </a:buBlip>
                <a:defRPr/>
              </a:pPr>
              <a:r>
                <a:rPr lang="en-US" sz="965" b="1" kern="1200" dirty="0">
                  <a:solidFill>
                    <a:prstClr val="white"/>
                  </a:solidFill>
                  <a:latin typeface="Arial" panose="020B0604020202020204"/>
                  <a:ea typeface="+mn-ea"/>
                  <a:cs typeface="+mn-cs"/>
                </a:rPr>
                <a:t>Total view of ‘My Family Office’</a:t>
              </a:r>
            </a:p>
            <a:p>
              <a:pPr marL="157874" indent="-157874" algn="l" defTabSz="802000" rtl="0">
                <a:lnSpc>
                  <a:spcPct val="90000"/>
                </a:lnSpc>
                <a:spcBef>
                  <a:spcPts val="526"/>
                </a:spcBef>
                <a:buSzPct val="110000"/>
                <a:buBlip>
                  <a:blip r:embed="rId3"/>
                </a:buBlip>
                <a:defRPr/>
              </a:pPr>
              <a:r>
                <a:rPr lang="en-US" sz="965" b="1" kern="1200" dirty="0">
                  <a:solidFill>
                    <a:prstClr val="white"/>
                  </a:solidFill>
                  <a:latin typeface="Arial" panose="020B0604020202020204"/>
                  <a:ea typeface="+mn-ea"/>
                  <a:cs typeface="+mn-cs"/>
                </a:rPr>
                <a:t>Enabling efficient collaboration</a:t>
              </a:r>
            </a:p>
            <a:p>
              <a:pPr marL="157874" indent="-157874" algn="l" defTabSz="802000" rtl="0">
                <a:lnSpc>
                  <a:spcPct val="90000"/>
                </a:lnSpc>
                <a:spcBef>
                  <a:spcPts val="526"/>
                </a:spcBef>
                <a:buSzPct val="110000"/>
                <a:buBlip>
                  <a:blip r:embed="rId3"/>
                </a:buBlip>
                <a:defRPr/>
              </a:pPr>
              <a:r>
                <a:rPr lang="en-US" sz="965" b="1" kern="1200" dirty="0">
                  <a:solidFill>
                    <a:prstClr val="white"/>
                  </a:solidFill>
                  <a:latin typeface="Arial" panose="020B0604020202020204"/>
                  <a:ea typeface="+mn-ea"/>
                  <a:cs typeface="+mn-cs"/>
                </a:rPr>
                <a:t>Secure exchange of personal information</a:t>
              </a:r>
            </a:p>
          </p:txBody>
        </p:sp>
        <p:grpSp>
          <p:nvGrpSpPr>
            <p:cNvPr id="120" name="Group 119">
              <a:extLst>
                <a:ext uri="{FF2B5EF4-FFF2-40B4-BE49-F238E27FC236}">
                  <a16:creationId xmlns:a16="http://schemas.microsoft.com/office/drawing/2014/main" id="{EBDB3DEC-EF98-B235-FD25-04DFA5B973CA}"/>
                </a:ext>
              </a:extLst>
            </p:cNvPr>
            <p:cNvGrpSpPr/>
            <p:nvPr/>
          </p:nvGrpSpPr>
          <p:grpSpPr>
            <a:xfrm>
              <a:off x="6523054" y="3192116"/>
              <a:ext cx="4049502" cy="2354322"/>
              <a:chOff x="6697534" y="2118105"/>
              <a:chExt cx="5649509" cy="3284544"/>
            </a:xfrm>
          </p:grpSpPr>
          <p:sp>
            <p:nvSpPr>
              <p:cNvPr id="121" name="Oval 120">
                <a:extLst>
                  <a:ext uri="{FF2B5EF4-FFF2-40B4-BE49-F238E27FC236}">
                    <a16:creationId xmlns:a16="http://schemas.microsoft.com/office/drawing/2014/main" id="{ED536A21-5E55-4BD6-7A5B-44F99DF016FC}"/>
                  </a:ext>
                </a:extLst>
              </p:cNvPr>
              <p:cNvSpPr>
                <a:spLocks/>
              </p:cNvSpPr>
              <p:nvPr/>
            </p:nvSpPr>
            <p:spPr>
              <a:xfrm>
                <a:off x="7783046" y="2464354"/>
                <a:ext cx="2530102" cy="2586114"/>
              </a:xfrm>
              <a:prstGeom prst="ellipse">
                <a:avLst/>
              </a:prstGeom>
              <a:solidFill>
                <a:srgbClr val="FFFFFF">
                  <a:alpha val="5000"/>
                </a:srgbClr>
              </a:solidFill>
              <a:ln w="241300">
                <a:solidFill>
                  <a:schemeClr val="bg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809" rtl="0">
                  <a:defRPr/>
                </a:pPr>
                <a:endParaRPr lang="en-US" sz="702" kern="1200">
                  <a:solidFill>
                    <a:prstClr val="white"/>
                  </a:solidFill>
                  <a:latin typeface="Arial" panose="020B0604020202020204"/>
                </a:endParaRPr>
              </a:p>
            </p:txBody>
          </p:sp>
          <p:grpSp>
            <p:nvGrpSpPr>
              <p:cNvPr id="122" name="Group 121">
                <a:extLst>
                  <a:ext uri="{FF2B5EF4-FFF2-40B4-BE49-F238E27FC236}">
                    <a16:creationId xmlns:a16="http://schemas.microsoft.com/office/drawing/2014/main" id="{E8392073-752E-8101-291A-71C07CA27AD1}"/>
                  </a:ext>
                </a:extLst>
              </p:cNvPr>
              <p:cNvGrpSpPr>
                <a:grpSpLocks/>
              </p:cNvGrpSpPr>
              <p:nvPr/>
            </p:nvGrpSpPr>
            <p:grpSpPr>
              <a:xfrm>
                <a:off x="8363974" y="3076568"/>
                <a:ext cx="1371006" cy="1401357"/>
                <a:chOff x="4946089" y="2855723"/>
                <a:chExt cx="2336387" cy="2336387"/>
              </a:xfrm>
            </p:grpSpPr>
            <p:sp>
              <p:nvSpPr>
                <p:cNvPr id="180" name="Oval 179">
                  <a:extLst>
                    <a:ext uri="{FF2B5EF4-FFF2-40B4-BE49-F238E27FC236}">
                      <a16:creationId xmlns:a16="http://schemas.microsoft.com/office/drawing/2014/main" id="{ABB94EE1-3F06-BD55-E107-858FCA0EF1CB}"/>
                    </a:ext>
                  </a:extLst>
                </p:cNvPr>
                <p:cNvSpPr>
                  <a:spLocks/>
                </p:cNvSpPr>
                <p:nvPr/>
              </p:nvSpPr>
              <p:spPr>
                <a:xfrm>
                  <a:off x="4977279" y="2903170"/>
                  <a:ext cx="2241497" cy="2241495"/>
                </a:xfrm>
                <a:prstGeom prst="ellipse">
                  <a:avLst/>
                </a:prstGeom>
                <a:solidFill>
                  <a:srgbClr val="1F2D68"/>
                </a:solidFill>
                <a:ln w="241300">
                  <a:solidFill>
                    <a:srgbClr val="141E45">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809" rtl="0">
                    <a:defRPr/>
                  </a:pPr>
                  <a:endParaRPr lang="en-US" sz="702" kern="1200">
                    <a:solidFill>
                      <a:prstClr val="white"/>
                    </a:solidFill>
                    <a:latin typeface="Arial" panose="020B0604020202020204"/>
                  </a:endParaRPr>
                </a:p>
              </p:txBody>
            </p:sp>
            <p:sp>
              <p:nvSpPr>
                <p:cNvPr id="181" name="Arc 180">
                  <a:extLst>
                    <a:ext uri="{FF2B5EF4-FFF2-40B4-BE49-F238E27FC236}">
                      <a16:creationId xmlns:a16="http://schemas.microsoft.com/office/drawing/2014/main" id="{AABDAE24-EBF2-AD17-6954-8213969AE3A9}"/>
                    </a:ext>
                  </a:extLst>
                </p:cNvPr>
                <p:cNvSpPr>
                  <a:spLocks/>
                </p:cNvSpPr>
                <p:nvPr/>
              </p:nvSpPr>
              <p:spPr>
                <a:xfrm>
                  <a:off x="4946089" y="2855723"/>
                  <a:ext cx="2336387" cy="2336387"/>
                </a:xfrm>
                <a:prstGeom prst="arc">
                  <a:avLst>
                    <a:gd name="adj1" fmla="val 1767691"/>
                    <a:gd name="adj2" fmla="val 1767141"/>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02011" rtl="0">
                    <a:defRPr/>
                  </a:pPr>
                  <a:endParaRPr lang="en-AU" sz="877" kern="1200">
                    <a:solidFill>
                      <a:prstClr val="black"/>
                    </a:solidFill>
                    <a:latin typeface="Arial" panose="020B0604020202020204"/>
                  </a:endParaRPr>
                </a:p>
              </p:txBody>
            </p:sp>
          </p:grpSp>
          <p:sp>
            <p:nvSpPr>
              <p:cNvPr id="123" name="Oval 122">
                <a:extLst>
                  <a:ext uri="{FF2B5EF4-FFF2-40B4-BE49-F238E27FC236}">
                    <a16:creationId xmlns:a16="http://schemas.microsoft.com/office/drawing/2014/main" id="{0170EF21-92CD-E6F3-AF63-178EC6C05684}"/>
                  </a:ext>
                </a:extLst>
              </p:cNvPr>
              <p:cNvSpPr/>
              <p:nvPr/>
            </p:nvSpPr>
            <p:spPr>
              <a:xfrm>
                <a:off x="9575086" y="3929921"/>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24" name="Oval 123">
                <a:extLst>
                  <a:ext uri="{FF2B5EF4-FFF2-40B4-BE49-F238E27FC236}">
                    <a16:creationId xmlns:a16="http://schemas.microsoft.com/office/drawing/2014/main" id="{47A56ED8-C1AB-1C75-4A9B-BD4279567729}"/>
                  </a:ext>
                </a:extLst>
              </p:cNvPr>
              <p:cNvSpPr/>
              <p:nvPr/>
            </p:nvSpPr>
            <p:spPr>
              <a:xfrm>
                <a:off x="9272363" y="2988582"/>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25" name="Oval 124">
                <a:extLst>
                  <a:ext uri="{FF2B5EF4-FFF2-40B4-BE49-F238E27FC236}">
                    <a16:creationId xmlns:a16="http://schemas.microsoft.com/office/drawing/2014/main" id="{CDC4F7CF-095B-F1DD-8419-9B73AC7796B8}"/>
                  </a:ext>
                </a:extLst>
              </p:cNvPr>
              <p:cNvSpPr/>
              <p:nvPr/>
            </p:nvSpPr>
            <p:spPr>
              <a:xfrm>
                <a:off x="9605441" y="3437253"/>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26" name="Oval 125">
                <a:extLst>
                  <a:ext uri="{FF2B5EF4-FFF2-40B4-BE49-F238E27FC236}">
                    <a16:creationId xmlns:a16="http://schemas.microsoft.com/office/drawing/2014/main" id="{3E893BBF-9A33-6C62-835F-952DDAF3A0B4}"/>
                  </a:ext>
                </a:extLst>
              </p:cNvPr>
              <p:cNvSpPr/>
              <p:nvPr/>
            </p:nvSpPr>
            <p:spPr>
              <a:xfrm>
                <a:off x="9216080" y="4310166"/>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27" name="Oval 126">
                <a:extLst>
                  <a:ext uri="{FF2B5EF4-FFF2-40B4-BE49-F238E27FC236}">
                    <a16:creationId xmlns:a16="http://schemas.microsoft.com/office/drawing/2014/main" id="{6B2BA368-A102-C209-2471-62A82B10BAB4}"/>
                  </a:ext>
                </a:extLst>
              </p:cNvPr>
              <p:cNvSpPr/>
              <p:nvPr/>
            </p:nvSpPr>
            <p:spPr>
              <a:xfrm>
                <a:off x="8686825" y="4341070"/>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28" name="Oval 127">
                <a:extLst>
                  <a:ext uri="{FF2B5EF4-FFF2-40B4-BE49-F238E27FC236}">
                    <a16:creationId xmlns:a16="http://schemas.microsoft.com/office/drawing/2014/main" id="{8D71C6F8-DF85-1A95-E055-3BFE28CDE5BF}"/>
                  </a:ext>
                </a:extLst>
              </p:cNvPr>
              <p:cNvSpPr/>
              <p:nvPr/>
            </p:nvSpPr>
            <p:spPr>
              <a:xfrm>
                <a:off x="8286092" y="4038902"/>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29" name="Oval 128">
                <a:extLst>
                  <a:ext uri="{FF2B5EF4-FFF2-40B4-BE49-F238E27FC236}">
                    <a16:creationId xmlns:a16="http://schemas.microsoft.com/office/drawing/2014/main" id="{AB9EF722-E88B-8752-28D2-175A13751748}"/>
                  </a:ext>
                </a:extLst>
              </p:cNvPr>
              <p:cNvSpPr/>
              <p:nvPr/>
            </p:nvSpPr>
            <p:spPr>
              <a:xfrm>
                <a:off x="8162754" y="3512060"/>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30" name="Oval 129">
                <a:extLst>
                  <a:ext uri="{FF2B5EF4-FFF2-40B4-BE49-F238E27FC236}">
                    <a16:creationId xmlns:a16="http://schemas.microsoft.com/office/drawing/2014/main" id="{FB8A193D-2D03-B7F0-B503-4B64AA1C3983}"/>
                  </a:ext>
                </a:extLst>
              </p:cNvPr>
              <p:cNvSpPr/>
              <p:nvPr/>
            </p:nvSpPr>
            <p:spPr>
              <a:xfrm>
                <a:off x="8539741" y="2976953"/>
                <a:ext cx="287628" cy="2939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pic>
            <p:nvPicPr>
              <p:cNvPr id="131" name="Graphic 130">
                <a:extLst>
                  <a:ext uri="{FF2B5EF4-FFF2-40B4-BE49-F238E27FC236}">
                    <a16:creationId xmlns:a16="http://schemas.microsoft.com/office/drawing/2014/main" id="{5258E5BF-525F-353E-1A0B-F84EAEC9726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5553" y="3576838"/>
                <a:ext cx="161828" cy="165411"/>
              </a:xfrm>
              <a:prstGeom prst="rect">
                <a:avLst/>
              </a:prstGeom>
            </p:spPr>
          </p:pic>
          <p:pic>
            <p:nvPicPr>
              <p:cNvPr id="132" name="Graphic 131">
                <a:extLst>
                  <a:ext uri="{FF2B5EF4-FFF2-40B4-BE49-F238E27FC236}">
                    <a16:creationId xmlns:a16="http://schemas.microsoft.com/office/drawing/2014/main" id="{1C140646-6263-A36B-1211-C329697B09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49083" y="4407256"/>
                <a:ext cx="158618" cy="162130"/>
              </a:xfrm>
              <a:prstGeom prst="rect">
                <a:avLst/>
              </a:prstGeom>
            </p:spPr>
          </p:pic>
          <p:pic>
            <p:nvPicPr>
              <p:cNvPr id="133" name="Graphic 132">
                <a:extLst>
                  <a:ext uri="{FF2B5EF4-FFF2-40B4-BE49-F238E27FC236}">
                    <a16:creationId xmlns:a16="http://schemas.microsoft.com/office/drawing/2014/main" id="{523E0651-EAF3-CDCC-0A0A-713B736DAE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97416" y="3018794"/>
                <a:ext cx="171508" cy="175304"/>
              </a:xfrm>
              <a:prstGeom prst="rect">
                <a:avLst/>
              </a:prstGeom>
            </p:spPr>
          </p:pic>
          <p:pic>
            <p:nvPicPr>
              <p:cNvPr id="134" name="Graphic 133">
                <a:extLst>
                  <a:ext uri="{FF2B5EF4-FFF2-40B4-BE49-F238E27FC236}">
                    <a16:creationId xmlns:a16="http://schemas.microsoft.com/office/drawing/2014/main" id="{D7098ACA-8D2D-3E87-517E-5B4DD701E9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38304" y="4102165"/>
                <a:ext cx="179783" cy="183763"/>
              </a:xfrm>
              <a:prstGeom prst="rect">
                <a:avLst/>
              </a:prstGeom>
            </p:spPr>
          </p:pic>
          <p:pic>
            <p:nvPicPr>
              <p:cNvPr id="135" name="Graphic 134" descr="Users outline">
                <a:extLst>
                  <a:ext uri="{FF2B5EF4-FFF2-40B4-BE49-F238E27FC236}">
                    <a16:creationId xmlns:a16="http://schemas.microsoft.com/office/drawing/2014/main" id="{A84B50F1-002D-3A58-AD14-5D6FA87D2A7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55239" y="4354543"/>
                <a:ext cx="205075" cy="209615"/>
              </a:xfrm>
              <a:prstGeom prst="rect">
                <a:avLst/>
              </a:prstGeom>
            </p:spPr>
          </p:pic>
          <p:sp>
            <p:nvSpPr>
              <p:cNvPr id="136" name="Rectangle: Rounded Corners 135">
                <a:extLst>
                  <a:ext uri="{FF2B5EF4-FFF2-40B4-BE49-F238E27FC236}">
                    <a16:creationId xmlns:a16="http://schemas.microsoft.com/office/drawing/2014/main" id="{9F614BD5-1882-4FA5-BF01-22529ACD9026}"/>
                  </a:ext>
                </a:extLst>
              </p:cNvPr>
              <p:cNvSpPr/>
              <p:nvPr/>
            </p:nvSpPr>
            <p:spPr>
              <a:xfrm>
                <a:off x="8650984" y="3803220"/>
                <a:ext cx="813661" cy="185415"/>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defTabSz="589357">
                  <a:defRPr/>
                </a:pPr>
                <a:r>
                  <a:rPr lang="en-AU" sz="614">
                    <a:solidFill>
                      <a:srgbClr val="293C8B"/>
                    </a:solidFill>
                    <a:latin typeface="Arial" panose="020B0604020202020204"/>
                  </a:rPr>
                  <a:t>Individuals</a:t>
                </a:r>
              </a:p>
            </p:txBody>
          </p:sp>
          <p:sp>
            <p:nvSpPr>
              <p:cNvPr id="137" name="Rectangle: Rounded Corners 136">
                <a:extLst>
                  <a:ext uri="{FF2B5EF4-FFF2-40B4-BE49-F238E27FC236}">
                    <a16:creationId xmlns:a16="http://schemas.microsoft.com/office/drawing/2014/main" id="{DC27DACB-35FF-4E3A-DE0B-66710AF664BF}"/>
                  </a:ext>
                </a:extLst>
              </p:cNvPr>
              <p:cNvSpPr/>
              <p:nvPr/>
            </p:nvSpPr>
            <p:spPr>
              <a:xfrm>
                <a:off x="8641142" y="4040194"/>
                <a:ext cx="813911" cy="185415"/>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spAutoFit/>
              </a:bodyP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defTabSz="589357">
                  <a:defRPr/>
                </a:pPr>
                <a:r>
                  <a:rPr lang="en-AU" sz="614">
                    <a:solidFill>
                      <a:srgbClr val="293C8B"/>
                    </a:solidFill>
                    <a:latin typeface="Arial" panose="020B0604020202020204"/>
                  </a:rPr>
                  <a:t>Entities</a:t>
                </a:r>
              </a:p>
            </p:txBody>
          </p:sp>
          <p:sp>
            <p:nvSpPr>
              <p:cNvPr id="138" name="Rectangle 137">
                <a:extLst>
                  <a:ext uri="{FF2B5EF4-FFF2-40B4-BE49-F238E27FC236}">
                    <a16:creationId xmlns:a16="http://schemas.microsoft.com/office/drawing/2014/main" id="{5749806E-1ED5-4700-0B0D-DE1162DB4A4E}"/>
                  </a:ext>
                </a:extLst>
              </p:cNvPr>
              <p:cNvSpPr/>
              <p:nvPr/>
            </p:nvSpPr>
            <p:spPr>
              <a:xfrm>
                <a:off x="8561645" y="3525367"/>
                <a:ext cx="1041289" cy="248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805" rIns="34805" bIns="34805" rtlCol="0" anchor="ctr">
                <a:spAutoFit/>
              </a:bodyP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defTabSz="589357">
                  <a:defRPr/>
                </a:pPr>
                <a:r>
                  <a:rPr lang="en-AU" sz="702" b="1">
                    <a:solidFill>
                      <a:prstClr val="white"/>
                    </a:solidFill>
                    <a:latin typeface="Arial" panose="020B0604020202020204"/>
                  </a:rPr>
                  <a:t>HOUSEHOLD</a:t>
                </a:r>
              </a:p>
            </p:txBody>
          </p:sp>
          <p:pic>
            <p:nvPicPr>
              <p:cNvPr id="139" name="Graphic 138">
                <a:extLst>
                  <a:ext uri="{FF2B5EF4-FFF2-40B4-BE49-F238E27FC236}">
                    <a16:creationId xmlns:a16="http://schemas.microsoft.com/office/drawing/2014/main" id="{A982511D-D05C-F0AB-A65C-6A13980F56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947832" y="3334192"/>
                <a:ext cx="181226" cy="185238"/>
              </a:xfrm>
              <a:prstGeom prst="rect">
                <a:avLst/>
              </a:prstGeom>
            </p:spPr>
          </p:pic>
          <p:sp>
            <p:nvSpPr>
              <p:cNvPr id="140" name="Oval 139">
                <a:extLst>
                  <a:ext uri="{FF2B5EF4-FFF2-40B4-BE49-F238E27FC236}">
                    <a16:creationId xmlns:a16="http://schemas.microsoft.com/office/drawing/2014/main" id="{7EE25505-355A-4773-AB99-36642C36D26E}"/>
                  </a:ext>
                </a:extLst>
              </p:cNvPr>
              <p:cNvSpPr/>
              <p:nvPr/>
            </p:nvSpPr>
            <p:spPr>
              <a:xfrm>
                <a:off x="8696625" y="2118105"/>
                <a:ext cx="694706" cy="596639"/>
              </a:xfrm>
              <a:prstGeom prst="ellipse">
                <a:avLst/>
              </a:prstGeom>
              <a:solidFill>
                <a:srgbClr val="141E4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877" kern="1200">
                  <a:solidFill>
                    <a:prstClr val="white"/>
                  </a:solidFill>
                  <a:latin typeface="Arial" panose="020B0604020202020204"/>
                </a:endParaRPr>
              </a:p>
            </p:txBody>
          </p:sp>
          <p:sp>
            <p:nvSpPr>
              <p:cNvPr id="141" name="TextBox 140">
                <a:extLst>
                  <a:ext uri="{FF2B5EF4-FFF2-40B4-BE49-F238E27FC236}">
                    <a16:creationId xmlns:a16="http://schemas.microsoft.com/office/drawing/2014/main" id="{075310B9-853F-A12D-F25F-8BE90B472C25}"/>
                  </a:ext>
                </a:extLst>
              </p:cNvPr>
              <p:cNvSpPr txBox="1"/>
              <p:nvPr/>
            </p:nvSpPr>
            <p:spPr>
              <a:xfrm>
                <a:off x="8705729" y="2249925"/>
                <a:ext cx="704167" cy="354599"/>
              </a:xfrm>
              <a:prstGeom prst="rect">
                <a:avLst/>
              </a:prstGeom>
              <a:noFill/>
            </p:spPr>
            <p:txBody>
              <a:bodyPr wrap="square" rtlCol="0">
                <a:spAutoFit/>
              </a:bodyPr>
              <a:lstStyle/>
              <a:p>
                <a:pPr algn="ctr" defTabSz="802000" rtl="0">
                  <a:defRPr/>
                </a:pPr>
                <a:r>
                  <a:rPr lang="en-US" sz="526" kern="1200" dirty="0">
                    <a:solidFill>
                      <a:prstClr val="white"/>
                    </a:solidFill>
                    <a:latin typeface="Arial" panose="020B0604020202020204"/>
                    <a:ea typeface="+mn-ea"/>
                    <a:cs typeface="+mn-cs"/>
                  </a:rPr>
                  <a:t>Single touchpoint</a:t>
                </a:r>
                <a:endParaRPr lang="en-AU" sz="526" kern="1200" dirty="0">
                  <a:solidFill>
                    <a:prstClr val="white"/>
                  </a:solidFill>
                  <a:latin typeface="Arial" panose="020B0604020202020204"/>
                  <a:ea typeface="+mn-ea"/>
                  <a:cs typeface="+mn-cs"/>
                </a:endParaRPr>
              </a:p>
            </p:txBody>
          </p:sp>
          <p:sp>
            <p:nvSpPr>
              <p:cNvPr id="142" name="Arc 141">
                <a:extLst>
                  <a:ext uri="{FF2B5EF4-FFF2-40B4-BE49-F238E27FC236}">
                    <a16:creationId xmlns:a16="http://schemas.microsoft.com/office/drawing/2014/main" id="{E4FC0742-5FC5-B7CA-D143-4B3A87A8ECD9}"/>
                  </a:ext>
                </a:extLst>
              </p:cNvPr>
              <p:cNvSpPr/>
              <p:nvPr/>
            </p:nvSpPr>
            <p:spPr>
              <a:xfrm>
                <a:off x="7691388" y="2392138"/>
                <a:ext cx="2676896" cy="2736158"/>
              </a:xfrm>
              <a:prstGeom prst="arc">
                <a:avLst>
                  <a:gd name="adj1" fmla="val 16942262"/>
                  <a:gd name="adj2" fmla="val 10898400"/>
                </a:avLst>
              </a:prstGeom>
              <a:ln w="12700">
                <a:solidFill>
                  <a:schemeClr val="bg1"/>
                </a:solidFill>
                <a:prstDash val="solid"/>
                <a:head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802000" rtl="0">
                  <a:defRPr/>
                </a:pPr>
                <a:endParaRPr lang="en-AU" sz="877" kern="1200">
                  <a:solidFill>
                    <a:prstClr val="black"/>
                  </a:solidFill>
                  <a:latin typeface="Arial" panose="020B0604020202020204"/>
                </a:endParaRPr>
              </a:p>
            </p:txBody>
          </p:sp>
          <p:sp>
            <p:nvSpPr>
              <p:cNvPr id="143" name="TextBox 142">
                <a:extLst>
                  <a:ext uri="{FF2B5EF4-FFF2-40B4-BE49-F238E27FC236}">
                    <a16:creationId xmlns:a16="http://schemas.microsoft.com/office/drawing/2014/main" id="{8188611A-C1A9-02B5-7EC4-46E810BB1416}"/>
                  </a:ext>
                </a:extLst>
              </p:cNvPr>
              <p:cNvSpPr txBox="1"/>
              <p:nvPr/>
            </p:nvSpPr>
            <p:spPr>
              <a:xfrm>
                <a:off x="7148676" y="4884627"/>
                <a:ext cx="1007275" cy="467669"/>
              </a:xfrm>
              <a:prstGeom prst="rect">
                <a:avLst/>
              </a:prstGeom>
              <a:noFill/>
            </p:spPr>
            <p:txBody>
              <a:bodyPr wrap="square" rtlCol="0">
                <a:spAutoFit/>
              </a:bodyPr>
              <a:lstStyle/>
              <a:p>
                <a:pPr algn="r" defTabSz="802000" rtl="0">
                  <a:defRPr/>
                </a:pPr>
                <a:r>
                  <a:rPr lang="en-AU" sz="789" kern="1200">
                    <a:solidFill>
                      <a:prstClr val="white"/>
                    </a:solidFill>
                    <a:latin typeface="Arial" panose="020B0604020202020204"/>
                    <a:ea typeface="+mn-ea"/>
                    <a:cs typeface="+mn-cs"/>
                  </a:rPr>
                  <a:t>Personal goals</a:t>
                </a:r>
              </a:p>
            </p:txBody>
          </p:sp>
          <p:sp>
            <p:nvSpPr>
              <p:cNvPr id="144" name="TextBox 143">
                <a:extLst>
                  <a:ext uri="{FF2B5EF4-FFF2-40B4-BE49-F238E27FC236}">
                    <a16:creationId xmlns:a16="http://schemas.microsoft.com/office/drawing/2014/main" id="{6D7F6B17-F898-C058-C4F8-E09266AECDA6}"/>
                  </a:ext>
                </a:extLst>
              </p:cNvPr>
              <p:cNvSpPr txBox="1"/>
              <p:nvPr/>
            </p:nvSpPr>
            <p:spPr>
              <a:xfrm>
                <a:off x="10361024" y="4316064"/>
                <a:ext cx="1986019" cy="467669"/>
              </a:xfrm>
              <a:prstGeom prst="rect">
                <a:avLst/>
              </a:prstGeom>
              <a:noFill/>
            </p:spPr>
            <p:txBody>
              <a:bodyPr wrap="square" rtlCol="0">
                <a:spAutoFit/>
              </a:bodyPr>
              <a:lstStyle/>
              <a:p>
                <a:pPr algn="l" defTabSz="802000" rtl="0">
                  <a:defRPr/>
                </a:pPr>
                <a:r>
                  <a:rPr lang="en-AU" sz="789" kern="1200">
                    <a:solidFill>
                      <a:prstClr val="white"/>
                    </a:solidFill>
                    <a:latin typeface="Arial" panose="020B0604020202020204"/>
                    <a:ea typeface="+mn-ea"/>
                    <a:cs typeface="+mn-cs"/>
                  </a:rPr>
                  <a:t>Financial, Investment and estate planning advice</a:t>
                </a:r>
              </a:p>
            </p:txBody>
          </p:sp>
          <p:sp>
            <p:nvSpPr>
              <p:cNvPr id="145" name="TextBox 144">
                <a:extLst>
                  <a:ext uri="{FF2B5EF4-FFF2-40B4-BE49-F238E27FC236}">
                    <a16:creationId xmlns:a16="http://schemas.microsoft.com/office/drawing/2014/main" id="{34188AC0-1908-97D2-F630-8EB3B7CCBDE7}"/>
                  </a:ext>
                </a:extLst>
              </p:cNvPr>
              <p:cNvSpPr txBox="1"/>
              <p:nvPr/>
            </p:nvSpPr>
            <p:spPr>
              <a:xfrm>
                <a:off x="6896776" y="3691069"/>
                <a:ext cx="651230" cy="467669"/>
              </a:xfrm>
              <a:prstGeom prst="rect">
                <a:avLst/>
              </a:prstGeom>
              <a:noFill/>
            </p:spPr>
            <p:txBody>
              <a:bodyPr wrap="none" rtlCol="0">
                <a:spAutoFit/>
              </a:bodyPr>
              <a:lstStyle/>
              <a:p>
                <a:pPr algn="r" defTabSz="802000" rtl="0">
                  <a:defRPr/>
                </a:pPr>
                <a:r>
                  <a:rPr lang="en-AU" sz="789" kern="1200">
                    <a:solidFill>
                      <a:prstClr val="white"/>
                    </a:solidFill>
                    <a:latin typeface="Arial" panose="020B0604020202020204"/>
                    <a:ea typeface="+mn-ea"/>
                    <a:cs typeface="+mn-cs"/>
                  </a:rPr>
                  <a:t>Digital</a:t>
                </a:r>
                <a:br>
                  <a:rPr lang="en-AU" sz="789" kern="1200">
                    <a:solidFill>
                      <a:prstClr val="white"/>
                    </a:solidFill>
                    <a:latin typeface="Arial" panose="020B0604020202020204"/>
                    <a:ea typeface="+mn-ea"/>
                    <a:cs typeface="+mn-cs"/>
                  </a:rPr>
                </a:br>
                <a:r>
                  <a:rPr lang="en-AU" sz="789" kern="1200">
                    <a:solidFill>
                      <a:prstClr val="white"/>
                    </a:solidFill>
                    <a:latin typeface="Arial" panose="020B0604020202020204"/>
                    <a:ea typeface="+mn-ea"/>
                    <a:cs typeface="+mn-cs"/>
                  </a:rPr>
                  <a:t>forms</a:t>
                </a:r>
              </a:p>
            </p:txBody>
          </p:sp>
          <p:sp>
            <p:nvSpPr>
              <p:cNvPr id="146" name="TextBox 145">
                <a:extLst>
                  <a:ext uri="{FF2B5EF4-FFF2-40B4-BE49-F238E27FC236}">
                    <a16:creationId xmlns:a16="http://schemas.microsoft.com/office/drawing/2014/main" id="{D48FDF08-33E1-B81F-D5F1-5E5225D664D0}"/>
                  </a:ext>
                </a:extLst>
              </p:cNvPr>
              <p:cNvSpPr txBox="1"/>
              <p:nvPr/>
            </p:nvSpPr>
            <p:spPr>
              <a:xfrm>
                <a:off x="9786914" y="4934980"/>
                <a:ext cx="1606171" cy="467669"/>
              </a:xfrm>
              <a:prstGeom prst="rect">
                <a:avLst/>
              </a:prstGeom>
              <a:noFill/>
            </p:spPr>
            <p:txBody>
              <a:bodyPr wrap="square" rtlCol="0">
                <a:spAutoFit/>
              </a:bodyPr>
              <a:lstStyle/>
              <a:p>
                <a:pPr algn="l" defTabSz="802000" rtl="0">
                  <a:defRPr/>
                </a:pPr>
                <a:r>
                  <a:rPr lang="en-AU" sz="789" kern="1200">
                    <a:solidFill>
                      <a:prstClr val="white"/>
                    </a:solidFill>
                    <a:latin typeface="Arial" panose="020B0604020202020204"/>
                    <a:ea typeface="+mn-ea"/>
                    <a:cs typeface="+mn-cs"/>
                  </a:rPr>
                  <a:t>Communication &amp; collaboration</a:t>
                </a:r>
              </a:p>
            </p:txBody>
          </p:sp>
          <p:sp>
            <p:nvSpPr>
              <p:cNvPr id="147" name="TextBox 146">
                <a:extLst>
                  <a:ext uri="{FF2B5EF4-FFF2-40B4-BE49-F238E27FC236}">
                    <a16:creationId xmlns:a16="http://schemas.microsoft.com/office/drawing/2014/main" id="{6212EBDE-A6EE-5335-CD9E-D469F869E637}"/>
                  </a:ext>
                </a:extLst>
              </p:cNvPr>
              <p:cNvSpPr txBox="1"/>
              <p:nvPr/>
            </p:nvSpPr>
            <p:spPr>
              <a:xfrm>
                <a:off x="10402124" y="2993813"/>
                <a:ext cx="1548852" cy="467670"/>
              </a:xfrm>
              <a:prstGeom prst="rect">
                <a:avLst/>
              </a:prstGeom>
              <a:noFill/>
            </p:spPr>
            <p:txBody>
              <a:bodyPr wrap="square" rtlCol="0">
                <a:spAutoFit/>
              </a:bodyPr>
              <a:lstStyle/>
              <a:p>
                <a:pPr algn="l" defTabSz="802000" rtl="0">
                  <a:defRPr/>
                </a:pPr>
                <a:r>
                  <a:rPr lang="en-AU" sz="789" kern="1200">
                    <a:solidFill>
                      <a:prstClr val="white"/>
                    </a:solidFill>
                    <a:latin typeface="Arial" panose="020B0604020202020204"/>
                    <a:ea typeface="+mn-ea"/>
                    <a:cs typeface="+mn-cs"/>
                  </a:rPr>
                  <a:t>Secure document sharing and signing</a:t>
                </a:r>
              </a:p>
            </p:txBody>
          </p:sp>
          <p:sp>
            <p:nvSpPr>
              <p:cNvPr id="148" name="TextBox 147">
                <a:extLst>
                  <a:ext uri="{FF2B5EF4-FFF2-40B4-BE49-F238E27FC236}">
                    <a16:creationId xmlns:a16="http://schemas.microsoft.com/office/drawing/2014/main" id="{BB037319-AE5D-52A1-1A5C-E99A82EC068D}"/>
                  </a:ext>
                </a:extLst>
              </p:cNvPr>
              <p:cNvSpPr txBox="1"/>
              <p:nvPr/>
            </p:nvSpPr>
            <p:spPr>
              <a:xfrm>
                <a:off x="10454646" y="3788222"/>
                <a:ext cx="1326400" cy="298242"/>
              </a:xfrm>
              <a:prstGeom prst="rect">
                <a:avLst/>
              </a:prstGeom>
              <a:noFill/>
            </p:spPr>
            <p:txBody>
              <a:bodyPr wrap="square" rtlCol="0">
                <a:spAutoFit/>
              </a:bodyPr>
              <a:lstStyle/>
              <a:p>
                <a:pPr algn="l" defTabSz="802000" rtl="0">
                  <a:defRPr/>
                </a:pPr>
                <a:r>
                  <a:rPr lang="en-AU" sz="789" kern="1200">
                    <a:solidFill>
                      <a:prstClr val="white"/>
                    </a:solidFill>
                    <a:latin typeface="Arial" panose="020B0604020202020204"/>
                    <a:ea typeface="+mn-ea"/>
                    <a:cs typeface="+mn-cs"/>
                  </a:rPr>
                  <a:t>Tax checklists</a:t>
                </a:r>
              </a:p>
            </p:txBody>
          </p:sp>
          <p:sp>
            <p:nvSpPr>
              <p:cNvPr id="149" name="TextBox 148">
                <a:extLst>
                  <a:ext uri="{FF2B5EF4-FFF2-40B4-BE49-F238E27FC236}">
                    <a16:creationId xmlns:a16="http://schemas.microsoft.com/office/drawing/2014/main" id="{E18B2DE8-DFB4-E65E-7795-39B701A27761}"/>
                  </a:ext>
                </a:extLst>
              </p:cNvPr>
              <p:cNvSpPr txBox="1"/>
              <p:nvPr/>
            </p:nvSpPr>
            <p:spPr>
              <a:xfrm>
                <a:off x="10064191" y="2398729"/>
                <a:ext cx="1342385" cy="467670"/>
              </a:xfrm>
              <a:prstGeom prst="rect">
                <a:avLst/>
              </a:prstGeom>
              <a:noFill/>
            </p:spPr>
            <p:txBody>
              <a:bodyPr wrap="square" rtlCol="0">
                <a:spAutoFit/>
              </a:bodyPr>
              <a:lstStyle/>
              <a:p>
                <a:pPr algn="l" defTabSz="802000" rtl="0">
                  <a:defRPr/>
                </a:pPr>
                <a:r>
                  <a:rPr lang="en-AU" sz="789" kern="1200">
                    <a:solidFill>
                      <a:prstClr val="white"/>
                    </a:solidFill>
                    <a:latin typeface="Arial" panose="020B0604020202020204"/>
                    <a:ea typeface="+mn-ea"/>
                    <a:cs typeface="+mn-cs"/>
                  </a:rPr>
                  <a:t>Portfolio position &amp; performance</a:t>
                </a:r>
              </a:p>
            </p:txBody>
          </p:sp>
          <p:sp>
            <p:nvSpPr>
              <p:cNvPr id="150" name="TextBox 149">
                <a:extLst>
                  <a:ext uri="{FF2B5EF4-FFF2-40B4-BE49-F238E27FC236}">
                    <a16:creationId xmlns:a16="http://schemas.microsoft.com/office/drawing/2014/main" id="{8B317626-7F96-601C-0A3A-1DB08109B335}"/>
                  </a:ext>
                </a:extLst>
              </p:cNvPr>
              <p:cNvSpPr txBox="1"/>
              <p:nvPr/>
            </p:nvSpPr>
            <p:spPr>
              <a:xfrm>
                <a:off x="6697534" y="4331314"/>
                <a:ext cx="977740" cy="298242"/>
              </a:xfrm>
              <a:prstGeom prst="rect">
                <a:avLst/>
              </a:prstGeom>
              <a:noFill/>
            </p:spPr>
            <p:txBody>
              <a:bodyPr wrap="none" rtlCol="0">
                <a:spAutoFit/>
              </a:bodyPr>
              <a:lstStyle/>
              <a:p>
                <a:pPr algn="r" defTabSz="802000" rtl="0">
                  <a:defRPr/>
                </a:pPr>
                <a:r>
                  <a:rPr lang="en-AU" sz="789" kern="1200">
                    <a:solidFill>
                      <a:prstClr val="white"/>
                    </a:solidFill>
                    <a:latin typeface="Arial" panose="020B0604020202020204"/>
                    <a:ea typeface="+mn-ea"/>
                    <a:cs typeface="+mn-cs"/>
                  </a:rPr>
                  <a:t>To Do Lists</a:t>
                </a:r>
              </a:p>
            </p:txBody>
          </p:sp>
          <p:sp>
            <p:nvSpPr>
              <p:cNvPr id="151" name="Oval 150">
                <a:extLst>
                  <a:ext uri="{FF2B5EF4-FFF2-40B4-BE49-F238E27FC236}">
                    <a16:creationId xmlns:a16="http://schemas.microsoft.com/office/drawing/2014/main" id="{4EB7185E-BFAC-11A9-0D1B-13CBC2863D37}"/>
                  </a:ext>
                </a:extLst>
              </p:cNvPr>
              <p:cNvSpPr/>
              <p:nvPr/>
            </p:nvSpPr>
            <p:spPr>
              <a:xfrm>
                <a:off x="9763754" y="2594126"/>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2" name="Oval 151">
                <a:extLst>
                  <a:ext uri="{FF2B5EF4-FFF2-40B4-BE49-F238E27FC236}">
                    <a16:creationId xmlns:a16="http://schemas.microsoft.com/office/drawing/2014/main" id="{1DFEC08B-562F-AD77-77AA-429960DF6E82}"/>
                  </a:ext>
                </a:extLst>
              </p:cNvPr>
              <p:cNvSpPr/>
              <p:nvPr/>
            </p:nvSpPr>
            <p:spPr>
              <a:xfrm>
                <a:off x="7641245" y="3708509"/>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3" name="Oval 152">
                <a:extLst>
                  <a:ext uri="{FF2B5EF4-FFF2-40B4-BE49-F238E27FC236}">
                    <a16:creationId xmlns:a16="http://schemas.microsoft.com/office/drawing/2014/main" id="{A03C3042-02D6-ADC1-EE11-71DB85DAD536}"/>
                  </a:ext>
                </a:extLst>
              </p:cNvPr>
              <p:cNvSpPr/>
              <p:nvPr/>
            </p:nvSpPr>
            <p:spPr>
              <a:xfrm>
                <a:off x="7790848" y="4375785"/>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4" name="Oval 153">
                <a:extLst>
                  <a:ext uri="{FF2B5EF4-FFF2-40B4-BE49-F238E27FC236}">
                    <a16:creationId xmlns:a16="http://schemas.microsoft.com/office/drawing/2014/main" id="{2903A83D-4977-9D70-B123-DF96132DE1E5}"/>
                  </a:ext>
                </a:extLst>
              </p:cNvPr>
              <p:cNvSpPr/>
              <p:nvPr/>
            </p:nvSpPr>
            <p:spPr>
              <a:xfrm>
                <a:off x="8240272" y="4856064"/>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5" name="Oval 154">
                <a:extLst>
                  <a:ext uri="{FF2B5EF4-FFF2-40B4-BE49-F238E27FC236}">
                    <a16:creationId xmlns:a16="http://schemas.microsoft.com/office/drawing/2014/main" id="{1F5A00AB-52BC-CBDF-8A23-30CB6B30FDC6}"/>
                  </a:ext>
                </a:extLst>
              </p:cNvPr>
              <p:cNvSpPr/>
              <p:nvPr/>
            </p:nvSpPr>
            <p:spPr>
              <a:xfrm>
                <a:off x="10213095" y="3175545"/>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6" name="Oval 155">
                <a:extLst>
                  <a:ext uri="{FF2B5EF4-FFF2-40B4-BE49-F238E27FC236}">
                    <a16:creationId xmlns:a16="http://schemas.microsoft.com/office/drawing/2014/main" id="{3FBE64F9-108F-1C82-E810-BB581E146EAB}"/>
                  </a:ext>
                </a:extLst>
              </p:cNvPr>
              <p:cNvSpPr/>
              <p:nvPr/>
            </p:nvSpPr>
            <p:spPr>
              <a:xfrm>
                <a:off x="10308395" y="3879180"/>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7" name="Oval 156">
                <a:extLst>
                  <a:ext uri="{FF2B5EF4-FFF2-40B4-BE49-F238E27FC236}">
                    <a16:creationId xmlns:a16="http://schemas.microsoft.com/office/drawing/2014/main" id="{205F9736-C6EF-15C1-58D7-B810B6EFC784}"/>
                  </a:ext>
                </a:extLst>
              </p:cNvPr>
              <p:cNvSpPr/>
              <p:nvPr/>
            </p:nvSpPr>
            <p:spPr>
              <a:xfrm>
                <a:off x="10083570" y="4490224"/>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8" name="Oval 157">
                <a:extLst>
                  <a:ext uri="{FF2B5EF4-FFF2-40B4-BE49-F238E27FC236}">
                    <a16:creationId xmlns:a16="http://schemas.microsoft.com/office/drawing/2014/main" id="{4BC8D329-2DF4-77D5-5FFD-D0EFC2BC1E62}"/>
                  </a:ext>
                </a:extLst>
              </p:cNvPr>
              <p:cNvSpPr/>
              <p:nvPr/>
            </p:nvSpPr>
            <p:spPr>
              <a:xfrm>
                <a:off x="9707458" y="4856064"/>
                <a:ext cx="105259" cy="10758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sp>
            <p:nvSpPr>
              <p:cNvPr id="159" name="TextBox 158">
                <a:extLst>
                  <a:ext uri="{FF2B5EF4-FFF2-40B4-BE49-F238E27FC236}">
                    <a16:creationId xmlns:a16="http://schemas.microsoft.com/office/drawing/2014/main" id="{61234204-D8D8-5BCE-3E28-3588DB01ED27}"/>
                  </a:ext>
                </a:extLst>
              </p:cNvPr>
              <p:cNvSpPr txBox="1"/>
              <p:nvPr/>
            </p:nvSpPr>
            <p:spPr>
              <a:xfrm>
                <a:off x="7946731" y="3065972"/>
                <a:ext cx="609173" cy="260671"/>
              </a:xfrm>
              <a:prstGeom prst="rect">
                <a:avLst/>
              </a:prstGeom>
              <a:noFill/>
            </p:spPr>
            <p:txBody>
              <a:bodyPr wrap="square" rtlCol="0">
                <a:spAutoFit/>
              </a:bodyPr>
              <a:lstStyle/>
              <a:p>
                <a:pPr algn="ctr" defTabSz="802000" rtl="0">
                  <a:defRPr/>
                </a:pPr>
                <a:r>
                  <a:rPr lang="en-AU" sz="614" kern="1200" dirty="0">
                    <a:solidFill>
                      <a:prstClr val="white"/>
                    </a:solidFill>
                    <a:latin typeface="Arial" panose="020B0604020202020204"/>
                    <a:ea typeface="+mn-ea"/>
                    <a:cs typeface="+mn-cs"/>
                  </a:rPr>
                  <a:t>Banks</a:t>
                </a:r>
              </a:p>
            </p:txBody>
          </p:sp>
          <p:sp>
            <p:nvSpPr>
              <p:cNvPr id="160" name="TextBox 159">
                <a:extLst>
                  <a:ext uri="{FF2B5EF4-FFF2-40B4-BE49-F238E27FC236}">
                    <a16:creationId xmlns:a16="http://schemas.microsoft.com/office/drawing/2014/main" id="{FB4E8170-2B85-4CED-2E32-B1C312A4D55D}"/>
                  </a:ext>
                </a:extLst>
              </p:cNvPr>
              <p:cNvSpPr txBox="1"/>
              <p:nvPr/>
            </p:nvSpPr>
            <p:spPr>
              <a:xfrm>
                <a:off x="7622437" y="3776731"/>
                <a:ext cx="668305" cy="392527"/>
              </a:xfrm>
              <a:prstGeom prst="rect">
                <a:avLst/>
              </a:prstGeom>
              <a:noFill/>
            </p:spPr>
            <p:txBody>
              <a:bodyPr wrap="square" rtlCol="0">
                <a:spAutoFit/>
              </a:bodyPr>
              <a:lstStyle/>
              <a:p>
                <a:pPr algn="r" defTabSz="802000" rtl="0">
                  <a:defRPr/>
                </a:pPr>
                <a:r>
                  <a:rPr lang="en-AU" sz="614" kern="1200">
                    <a:solidFill>
                      <a:prstClr val="white"/>
                    </a:solidFill>
                    <a:latin typeface="Arial" panose="020B0604020202020204"/>
                    <a:ea typeface="+mn-ea"/>
                    <a:cs typeface="+mn-cs"/>
                  </a:rPr>
                  <a:t>Real</a:t>
                </a:r>
                <a:br>
                  <a:rPr lang="en-AU" sz="614" kern="1200">
                    <a:solidFill>
                      <a:prstClr val="white"/>
                    </a:solidFill>
                    <a:latin typeface="Arial" panose="020B0604020202020204"/>
                    <a:ea typeface="+mn-ea"/>
                    <a:cs typeface="+mn-cs"/>
                  </a:rPr>
                </a:br>
                <a:r>
                  <a:rPr lang="en-AU" sz="614" kern="1200">
                    <a:solidFill>
                      <a:prstClr val="white"/>
                    </a:solidFill>
                    <a:latin typeface="Arial" panose="020B0604020202020204"/>
                    <a:ea typeface="+mn-ea"/>
                    <a:cs typeface="+mn-cs"/>
                  </a:rPr>
                  <a:t>Estate</a:t>
                </a:r>
              </a:p>
            </p:txBody>
          </p:sp>
          <p:sp>
            <p:nvSpPr>
              <p:cNvPr id="161" name="TextBox 160">
                <a:extLst>
                  <a:ext uri="{FF2B5EF4-FFF2-40B4-BE49-F238E27FC236}">
                    <a16:creationId xmlns:a16="http://schemas.microsoft.com/office/drawing/2014/main" id="{64C7BA4D-AB63-D28C-E779-1F04246DAEBA}"/>
                  </a:ext>
                </a:extLst>
              </p:cNvPr>
              <p:cNvSpPr txBox="1"/>
              <p:nvPr/>
            </p:nvSpPr>
            <p:spPr>
              <a:xfrm>
                <a:off x="8470840" y="4604162"/>
                <a:ext cx="620918" cy="392527"/>
              </a:xfrm>
              <a:prstGeom prst="rect">
                <a:avLst/>
              </a:prstGeom>
              <a:noFill/>
            </p:spPr>
            <p:txBody>
              <a:bodyPr wrap="square" rtlCol="0">
                <a:spAutoFit/>
              </a:bodyPr>
              <a:lstStyle/>
              <a:p>
                <a:pPr algn="r" defTabSz="802000" rtl="0">
                  <a:defRPr/>
                </a:pPr>
                <a:r>
                  <a:rPr lang="en-AU" sz="614" kern="1200" dirty="0">
                    <a:solidFill>
                      <a:prstClr val="white"/>
                    </a:solidFill>
                    <a:latin typeface="Arial" panose="020B0604020202020204"/>
                    <a:ea typeface="+mn-ea"/>
                    <a:cs typeface="+mn-cs"/>
                  </a:rPr>
                  <a:t>Motor</a:t>
                </a:r>
                <a:br>
                  <a:rPr lang="en-AU" sz="614" kern="1200" dirty="0">
                    <a:solidFill>
                      <a:prstClr val="white"/>
                    </a:solidFill>
                    <a:latin typeface="Arial" panose="020B0604020202020204"/>
                    <a:ea typeface="+mn-ea"/>
                    <a:cs typeface="+mn-cs"/>
                  </a:rPr>
                </a:br>
                <a:r>
                  <a:rPr lang="en-AU" sz="614" kern="1200" dirty="0">
                    <a:solidFill>
                      <a:prstClr val="white"/>
                    </a:solidFill>
                    <a:latin typeface="Arial" panose="020B0604020202020204"/>
                    <a:ea typeface="+mn-ea"/>
                    <a:cs typeface="+mn-cs"/>
                  </a:rPr>
                  <a:t>Vehicle</a:t>
                </a:r>
              </a:p>
            </p:txBody>
          </p:sp>
          <p:sp>
            <p:nvSpPr>
              <p:cNvPr id="162" name="TextBox 161">
                <a:extLst>
                  <a:ext uri="{FF2B5EF4-FFF2-40B4-BE49-F238E27FC236}">
                    <a16:creationId xmlns:a16="http://schemas.microsoft.com/office/drawing/2014/main" id="{2E4810B5-A919-0169-2A89-64F8C07D2785}"/>
                  </a:ext>
                </a:extLst>
              </p:cNvPr>
              <p:cNvSpPr txBox="1"/>
              <p:nvPr/>
            </p:nvSpPr>
            <p:spPr>
              <a:xfrm>
                <a:off x="7963976" y="4357587"/>
                <a:ext cx="724699" cy="260671"/>
              </a:xfrm>
              <a:prstGeom prst="rect">
                <a:avLst/>
              </a:prstGeom>
              <a:noFill/>
            </p:spPr>
            <p:txBody>
              <a:bodyPr wrap="square" rtlCol="0">
                <a:spAutoFit/>
              </a:bodyPr>
              <a:lstStyle/>
              <a:p>
                <a:pPr algn="ctr" defTabSz="802000" rtl="0">
                  <a:defRPr/>
                </a:pPr>
                <a:r>
                  <a:rPr lang="en-AU" sz="614" kern="1200">
                    <a:solidFill>
                      <a:prstClr val="white"/>
                    </a:solidFill>
                    <a:latin typeface="Arial" panose="020B0604020202020204"/>
                    <a:ea typeface="+mn-ea"/>
                    <a:cs typeface="+mn-cs"/>
                  </a:rPr>
                  <a:t>Platforms</a:t>
                </a:r>
              </a:p>
            </p:txBody>
          </p:sp>
          <p:sp>
            <p:nvSpPr>
              <p:cNvPr id="163" name="TextBox 162">
                <a:extLst>
                  <a:ext uri="{FF2B5EF4-FFF2-40B4-BE49-F238E27FC236}">
                    <a16:creationId xmlns:a16="http://schemas.microsoft.com/office/drawing/2014/main" id="{4947B4BC-EEDB-5FB9-CE96-7673AF7D2496}"/>
                  </a:ext>
                </a:extLst>
              </p:cNvPr>
              <p:cNvSpPr txBox="1"/>
              <p:nvPr/>
            </p:nvSpPr>
            <p:spPr>
              <a:xfrm>
                <a:off x="9065961" y="4592763"/>
                <a:ext cx="779452" cy="392527"/>
              </a:xfrm>
              <a:prstGeom prst="rect">
                <a:avLst/>
              </a:prstGeom>
              <a:noFill/>
            </p:spPr>
            <p:txBody>
              <a:bodyPr wrap="square" rtlCol="0">
                <a:spAutoFit/>
              </a:bodyPr>
              <a:lstStyle/>
              <a:p>
                <a:pPr algn="l" defTabSz="802000" rtl="0">
                  <a:defRPr/>
                </a:pPr>
                <a:r>
                  <a:rPr lang="en-AU" sz="614" kern="1200">
                    <a:solidFill>
                      <a:prstClr val="white"/>
                    </a:solidFill>
                    <a:latin typeface="Arial" panose="020B0604020202020204"/>
                    <a:ea typeface="+mn-ea"/>
                    <a:cs typeface="+mn-cs"/>
                  </a:rPr>
                  <a:t>Family Members</a:t>
                </a:r>
              </a:p>
            </p:txBody>
          </p:sp>
          <p:sp>
            <p:nvSpPr>
              <p:cNvPr id="164" name="TextBox 163">
                <a:extLst>
                  <a:ext uri="{FF2B5EF4-FFF2-40B4-BE49-F238E27FC236}">
                    <a16:creationId xmlns:a16="http://schemas.microsoft.com/office/drawing/2014/main" id="{53170F42-1A20-DA55-11CF-4978D125B643}"/>
                  </a:ext>
                </a:extLst>
              </p:cNvPr>
              <p:cNvSpPr txBox="1"/>
              <p:nvPr/>
            </p:nvSpPr>
            <p:spPr>
              <a:xfrm>
                <a:off x="9559253" y="4197545"/>
                <a:ext cx="947451" cy="392527"/>
              </a:xfrm>
              <a:prstGeom prst="rect">
                <a:avLst/>
              </a:prstGeom>
              <a:noFill/>
            </p:spPr>
            <p:txBody>
              <a:bodyPr wrap="square" rtlCol="0">
                <a:spAutoFit/>
              </a:bodyPr>
              <a:lstStyle/>
              <a:p>
                <a:pPr algn="l" defTabSz="802000" rtl="0">
                  <a:defRPr/>
                </a:pPr>
                <a:r>
                  <a:rPr lang="en-AU" sz="614" kern="1200">
                    <a:solidFill>
                      <a:prstClr val="white"/>
                    </a:solidFill>
                    <a:latin typeface="Arial" panose="020B0604020202020204"/>
                    <a:ea typeface="+mn-ea"/>
                    <a:cs typeface="+mn-cs"/>
                  </a:rPr>
                  <a:t>Other Professionals</a:t>
                </a:r>
              </a:p>
            </p:txBody>
          </p:sp>
          <p:sp>
            <p:nvSpPr>
              <p:cNvPr id="165" name="TextBox 164">
                <a:extLst>
                  <a:ext uri="{FF2B5EF4-FFF2-40B4-BE49-F238E27FC236}">
                    <a16:creationId xmlns:a16="http://schemas.microsoft.com/office/drawing/2014/main" id="{A117DE19-D1EA-BBFF-6199-2C7F1C6B7C30}"/>
                  </a:ext>
                </a:extLst>
              </p:cNvPr>
              <p:cNvSpPr txBox="1"/>
              <p:nvPr/>
            </p:nvSpPr>
            <p:spPr>
              <a:xfrm>
                <a:off x="9637409" y="3641714"/>
                <a:ext cx="724699" cy="260671"/>
              </a:xfrm>
              <a:prstGeom prst="rect">
                <a:avLst/>
              </a:prstGeom>
              <a:noFill/>
            </p:spPr>
            <p:txBody>
              <a:bodyPr wrap="square" rtlCol="0">
                <a:spAutoFit/>
              </a:bodyPr>
              <a:lstStyle/>
              <a:p>
                <a:pPr algn="ctr" defTabSz="802000" rtl="0">
                  <a:defRPr/>
                </a:pPr>
                <a:r>
                  <a:rPr lang="en-AU" sz="614" kern="1200">
                    <a:solidFill>
                      <a:prstClr val="white"/>
                    </a:solidFill>
                    <a:latin typeface="Arial" panose="020B0604020202020204"/>
                    <a:ea typeface="+mn-ea"/>
                    <a:cs typeface="+mn-cs"/>
                  </a:rPr>
                  <a:t>Adviser</a:t>
                </a:r>
              </a:p>
            </p:txBody>
          </p:sp>
          <p:grpSp>
            <p:nvGrpSpPr>
              <p:cNvPr id="166" name="Group 165">
                <a:extLst>
                  <a:ext uri="{FF2B5EF4-FFF2-40B4-BE49-F238E27FC236}">
                    <a16:creationId xmlns:a16="http://schemas.microsoft.com/office/drawing/2014/main" id="{715DC40E-221D-5B56-E6DA-D31FCC4FBC08}"/>
                  </a:ext>
                </a:extLst>
              </p:cNvPr>
              <p:cNvGrpSpPr/>
              <p:nvPr/>
            </p:nvGrpSpPr>
            <p:grpSpPr>
              <a:xfrm>
                <a:off x="9622794" y="3970624"/>
                <a:ext cx="186992" cy="191131"/>
                <a:chOff x="4593182" y="2425039"/>
                <a:chExt cx="367734" cy="367733"/>
              </a:xfrm>
            </p:grpSpPr>
            <p:pic>
              <p:nvPicPr>
                <p:cNvPr id="178" name="Graphic 177">
                  <a:extLst>
                    <a:ext uri="{FF2B5EF4-FFF2-40B4-BE49-F238E27FC236}">
                      <a16:creationId xmlns:a16="http://schemas.microsoft.com/office/drawing/2014/main" id="{4EE0A3CF-869A-3165-5D14-86D54257D99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93182" y="2425039"/>
                  <a:ext cx="367734" cy="367733"/>
                </a:xfrm>
                <a:prstGeom prst="rect">
                  <a:avLst/>
                </a:prstGeom>
              </p:spPr>
            </p:pic>
            <p:sp>
              <p:nvSpPr>
                <p:cNvPr id="179" name="Oval 178">
                  <a:extLst>
                    <a:ext uri="{FF2B5EF4-FFF2-40B4-BE49-F238E27FC236}">
                      <a16:creationId xmlns:a16="http://schemas.microsoft.com/office/drawing/2014/main" id="{8925F2CB-A720-C397-0FD4-302B64B43F9D}"/>
                    </a:ext>
                  </a:extLst>
                </p:cNvPr>
                <p:cNvSpPr/>
                <p:nvPr/>
              </p:nvSpPr>
              <p:spPr>
                <a:xfrm>
                  <a:off x="4809425" y="2644150"/>
                  <a:ext cx="148622" cy="14862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grpSp>
          <p:sp>
            <p:nvSpPr>
              <p:cNvPr id="167" name="TextBox 166">
                <a:extLst>
                  <a:ext uri="{FF2B5EF4-FFF2-40B4-BE49-F238E27FC236}">
                    <a16:creationId xmlns:a16="http://schemas.microsoft.com/office/drawing/2014/main" id="{3551A4BD-D64A-B19C-39D3-A9C3A6DB24D2}"/>
                  </a:ext>
                </a:extLst>
              </p:cNvPr>
              <p:cNvSpPr txBox="1"/>
              <p:nvPr/>
            </p:nvSpPr>
            <p:spPr>
              <a:xfrm>
                <a:off x="9452278" y="3128077"/>
                <a:ext cx="822439" cy="260671"/>
              </a:xfrm>
              <a:prstGeom prst="rect">
                <a:avLst/>
              </a:prstGeom>
              <a:noFill/>
            </p:spPr>
            <p:txBody>
              <a:bodyPr wrap="square" rtlCol="0">
                <a:spAutoFit/>
              </a:bodyPr>
              <a:lstStyle/>
              <a:p>
                <a:pPr algn="ctr" defTabSz="802000" rtl="0">
                  <a:defRPr/>
                </a:pPr>
                <a:r>
                  <a:rPr lang="en-AU" sz="614" kern="1200">
                    <a:solidFill>
                      <a:prstClr val="white"/>
                    </a:solidFill>
                    <a:latin typeface="Arial" panose="020B0604020202020204"/>
                    <a:ea typeface="+mn-ea"/>
                    <a:cs typeface="+mn-cs"/>
                  </a:rPr>
                  <a:t>Accountant</a:t>
                </a:r>
              </a:p>
            </p:txBody>
          </p:sp>
          <p:grpSp>
            <p:nvGrpSpPr>
              <p:cNvPr id="168" name="Group 167">
                <a:extLst>
                  <a:ext uri="{FF2B5EF4-FFF2-40B4-BE49-F238E27FC236}">
                    <a16:creationId xmlns:a16="http://schemas.microsoft.com/office/drawing/2014/main" id="{5FC6DEF9-6DF2-E122-38F8-0AD993F33842}"/>
                  </a:ext>
                </a:extLst>
              </p:cNvPr>
              <p:cNvGrpSpPr/>
              <p:nvPr/>
            </p:nvGrpSpPr>
            <p:grpSpPr>
              <a:xfrm>
                <a:off x="9316177" y="3027620"/>
                <a:ext cx="186992" cy="191132"/>
                <a:chOff x="4593182" y="2425037"/>
                <a:chExt cx="367734" cy="367734"/>
              </a:xfrm>
            </p:grpSpPr>
            <p:pic>
              <p:nvPicPr>
                <p:cNvPr id="176" name="Graphic 175">
                  <a:extLst>
                    <a:ext uri="{FF2B5EF4-FFF2-40B4-BE49-F238E27FC236}">
                      <a16:creationId xmlns:a16="http://schemas.microsoft.com/office/drawing/2014/main" id="{DC73B717-57BB-9CE2-74BE-E8180CC31C9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93182" y="2425037"/>
                  <a:ext cx="367734" cy="367734"/>
                </a:xfrm>
                <a:prstGeom prst="rect">
                  <a:avLst/>
                </a:prstGeom>
              </p:spPr>
            </p:pic>
            <p:sp>
              <p:nvSpPr>
                <p:cNvPr id="177" name="Oval 176">
                  <a:extLst>
                    <a:ext uri="{FF2B5EF4-FFF2-40B4-BE49-F238E27FC236}">
                      <a16:creationId xmlns:a16="http://schemas.microsoft.com/office/drawing/2014/main" id="{00478B0F-5895-EE80-0272-F068F0F92BFB}"/>
                    </a:ext>
                  </a:extLst>
                </p:cNvPr>
                <p:cNvSpPr/>
                <p:nvPr/>
              </p:nvSpPr>
              <p:spPr>
                <a:xfrm>
                  <a:off x="4809424" y="2644148"/>
                  <a:ext cx="148623" cy="148623"/>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grpSp>
          <p:pic>
            <p:nvPicPr>
              <p:cNvPr id="169" name="Graphic 168">
                <a:extLst>
                  <a:ext uri="{FF2B5EF4-FFF2-40B4-BE49-F238E27FC236}">
                    <a16:creationId xmlns:a16="http://schemas.microsoft.com/office/drawing/2014/main" id="{70458595-943C-72D7-8AF9-AE046AAD5AA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50177" y="4100240"/>
                <a:ext cx="44972" cy="45968"/>
              </a:xfrm>
              <a:prstGeom prst="rect">
                <a:avLst/>
              </a:prstGeom>
            </p:spPr>
          </p:pic>
          <p:sp>
            <p:nvSpPr>
              <p:cNvPr id="170" name="TextBox 169">
                <a:extLst>
                  <a:ext uri="{FF2B5EF4-FFF2-40B4-BE49-F238E27FC236}">
                    <a16:creationId xmlns:a16="http://schemas.microsoft.com/office/drawing/2014/main" id="{6EDFA668-F34F-244E-953B-7A73E355372B}"/>
                  </a:ext>
                </a:extLst>
              </p:cNvPr>
              <p:cNvSpPr txBox="1"/>
              <p:nvPr/>
            </p:nvSpPr>
            <p:spPr>
              <a:xfrm>
                <a:off x="9334057" y="3078835"/>
                <a:ext cx="302357" cy="223101"/>
              </a:xfrm>
              <a:prstGeom prst="rect">
                <a:avLst/>
              </a:prstGeom>
              <a:noFill/>
            </p:spPr>
            <p:txBody>
              <a:bodyPr wrap="none" rtlCol="0">
                <a:spAutoFit/>
              </a:bodyPr>
              <a:lstStyle/>
              <a:p>
                <a:pPr algn="l" defTabSz="802000" rtl="0">
                  <a:defRPr/>
                </a:pPr>
                <a:r>
                  <a:rPr lang="en-US" sz="439" kern="1200">
                    <a:solidFill>
                      <a:srgbClr val="FFBE37"/>
                    </a:solidFill>
                    <a:latin typeface="Arial" panose="020B0604020202020204"/>
                    <a:ea typeface="+mn-ea"/>
                    <a:cs typeface="+mn-cs"/>
                  </a:rPr>
                  <a:t>$</a:t>
                </a:r>
                <a:endParaRPr lang="en-AU" sz="439" kern="1200">
                  <a:solidFill>
                    <a:srgbClr val="FFBE37"/>
                  </a:solidFill>
                  <a:latin typeface="Arial" panose="020B0604020202020204"/>
                  <a:ea typeface="+mn-ea"/>
                  <a:cs typeface="+mn-cs"/>
                </a:endParaRPr>
              </a:p>
            </p:txBody>
          </p:sp>
          <p:grpSp>
            <p:nvGrpSpPr>
              <p:cNvPr id="171" name="Group 170">
                <a:extLst>
                  <a:ext uri="{FF2B5EF4-FFF2-40B4-BE49-F238E27FC236}">
                    <a16:creationId xmlns:a16="http://schemas.microsoft.com/office/drawing/2014/main" id="{3EE2BC9E-4B83-75FC-4128-B160441E3147}"/>
                  </a:ext>
                </a:extLst>
              </p:cNvPr>
              <p:cNvGrpSpPr/>
              <p:nvPr/>
            </p:nvGrpSpPr>
            <p:grpSpPr>
              <a:xfrm>
                <a:off x="9655759" y="3481371"/>
                <a:ext cx="186992" cy="191131"/>
                <a:chOff x="8458016" y="3348027"/>
                <a:chExt cx="297752" cy="297752"/>
              </a:xfrm>
            </p:grpSpPr>
            <p:grpSp>
              <p:nvGrpSpPr>
                <p:cNvPr id="172" name="Group 171">
                  <a:extLst>
                    <a:ext uri="{FF2B5EF4-FFF2-40B4-BE49-F238E27FC236}">
                      <a16:creationId xmlns:a16="http://schemas.microsoft.com/office/drawing/2014/main" id="{129E49A8-1563-1193-4696-F86E47BB4770}"/>
                    </a:ext>
                  </a:extLst>
                </p:cNvPr>
                <p:cNvGrpSpPr/>
                <p:nvPr/>
              </p:nvGrpSpPr>
              <p:grpSpPr>
                <a:xfrm>
                  <a:off x="8458016" y="3348027"/>
                  <a:ext cx="297752" cy="297752"/>
                  <a:chOff x="4593182" y="2425037"/>
                  <a:chExt cx="367734" cy="367734"/>
                </a:xfrm>
              </p:grpSpPr>
              <p:pic>
                <p:nvPicPr>
                  <p:cNvPr id="174" name="Graphic 173">
                    <a:extLst>
                      <a:ext uri="{FF2B5EF4-FFF2-40B4-BE49-F238E27FC236}">
                        <a16:creationId xmlns:a16="http://schemas.microsoft.com/office/drawing/2014/main" id="{30E9F742-15BD-FB54-80F4-F472E05DE4C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93182" y="2425037"/>
                    <a:ext cx="367734" cy="367734"/>
                  </a:xfrm>
                  <a:prstGeom prst="rect">
                    <a:avLst/>
                  </a:prstGeom>
                </p:spPr>
              </p:pic>
              <p:sp>
                <p:nvSpPr>
                  <p:cNvPr id="175" name="Oval 174">
                    <a:extLst>
                      <a:ext uri="{FF2B5EF4-FFF2-40B4-BE49-F238E27FC236}">
                        <a16:creationId xmlns:a16="http://schemas.microsoft.com/office/drawing/2014/main" id="{9BA2625D-DA1B-B548-6F77-73895CE16899}"/>
                      </a:ext>
                    </a:extLst>
                  </p:cNvPr>
                  <p:cNvSpPr/>
                  <p:nvPr/>
                </p:nvSpPr>
                <p:spPr>
                  <a:xfrm>
                    <a:off x="4809424" y="2644148"/>
                    <a:ext cx="148623" cy="148623"/>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877" kern="1200">
                      <a:solidFill>
                        <a:prstClr val="white"/>
                      </a:solidFill>
                      <a:latin typeface="Arial" panose="020B0604020202020204"/>
                    </a:endParaRPr>
                  </a:p>
                </p:txBody>
              </p:sp>
            </p:grpSp>
            <p:sp>
              <p:nvSpPr>
                <p:cNvPr id="173" name="Freeform: Shape 172">
                  <a:extLst>
                    <a:ext uri="{FF2B5EF4-FFF2-40B4-BE49-F238E27FC236}">
                      <a16:creationId xmlns:a16="http://schemas.microsoft.com/office/drawing/2014/main" id="{6DCC5288-8B1D-DB21-346B-A652CF5BF072}"/>
                    </a:ext>
                  </a:extLst>
                </p:cNvPr>
                <p:cNvSpPr/>
                <p:nvPr/>
              </p:nvSpPr>
              <p:spPr>
                <a:xfrm>
                  <a:off x="8657077" y="3554380"/>
                  <a:ext cx="78416" cy="78416"/>
                </a:xfrm>
                <a:custGeom>
                  <a:avLst/>
                  <a:gdLst>
                    <a:gd name="connsiteX0" fmla="*/ 2057400 w 2286000"/>
                    <a:gd name="connsiteY0" fmla="*/ 0 h 2286004"/>
                    <a:gd name="connsiteX1" fmla="*/ 228600 w 2286000"/>
                    <a:gd name="connsiteY1" fmla="*/ 0 h 2286004"/>
                    <a:gd name="connsiteX2" fmla="*/ 0 w 2286000"/>
                    <a:gd name="connsiteY2" fmla="*/ 228600 h 2286004"/>
                    <a:gd name="connsiteX3" fmla="*/ 0 w 2286000"/>
                    <a:gd name="connsiteY3" fmla="*/ 1447800 h 2286004"/>
                    <a:gd name="connsiteX4" fmla="*/ 228600 w 2286000"/>
                    <a:gd name="connsiteY4" fmla="*/ 1676400 h 2286004"/>
                    <a:gd name="connsiteX5" fmla="*/ 647700 w 2286000"/>
                    <a:gd name="connsiteY5" fmla="*/ 1676400 h 2286004"/>
                    <a:gd name="connsiteX6" fmla="*/ 1082040 w 2286000"/>
                    <a:gd name="connsiteY6" fmla="*/ 2255520 h 2286004"/>
                    <a:gd name="connsiteX7" fmla="*/ 1188720 w 2286000"/>
                    <a:gd name="connsiteY7" fmla="*/ 2270760 h 2286004"/>
                    <a:gd name="connsiteX8" fmla="*/ 1203960 w 2286000"/>
                    <a:gd name="connsiteY8" fmla="*/ 2255520 h 2286004"/>
                    <a:gd name="connsiteX9" fmla="*/ 1638300 w 2286000"/>
                    <a:gd name="connsiteY9" fmla="*/ 1676400 h 2286004"/>
                    <a:gd name="connsiteX10" fmla="*/ 2057400 w 2286000"/>
                    <a:gd name="connsiteY10" fmla="*/ 1676400 h 2286004"/>
                    <a:gd name="connsiteX11" fmla="*/ 2286000 w 2286000"/>
                    <a:gd name="connsiteY11" fmla="*/ 1447800 h 2286004"/>
                    <a:gd name="connsiteX12" fmla="*/ 2286000 w 2286000"/>
                    <a:gd name="connsiteY12" fmla="*/ 228600 h 2286004"/>
                    <a:gd name="connsiteX13" fmla="*/ 2057400 w 2286000"/>
                    <a:gd name="connsiteY13" fmla="*/ 0 h 2286004"/>
                    <a:gd name="connsiteX14" fmla="*/ 2133600 w 2286000"/>
                    <a:gd name="connsiteY14" fmla="*/ 1447800 h 2286004"/>
                    <a:gd name="connsiteX15" fmla="*/ 2057400 w 2286000"/>
                    <a:gd name="connsiteY15" fmla="*/ 1524000 h 2286004"/>
                    <a:gd name="connsiteX16" fmla="*/ 1600200 w 2286000"/>
                    <a:gd name="connsiteY16" fmla="*/ 1524000 h 2286004"/>
                    <a:gd name="connsiteX17" fmla="*/ 1539240 w 2286000"/>
                    <a:gd name="connsiteY17" fmla="*/ 1554480 h 2286004"/>
                    <a:gd name="connsiteX18" fmla="*/ 1143000 w 2286000"/>
                    <a:gd name="connsiteY18" fmla="*/ 2083308 h 2286004"/>
                    <a:gd name="connsiteX19" fmla="*/ 746760 w 2286000"/>
                    <a:gd name="connsiteY19" fmla="*/ 1554480 h 2286004"/>
                    <a:gd name="connsiteX20" fmla="*/ 685800 w 2286000"/>
                    <a:gd name="connsiteY20" fmla="*/ 1524000 h 2286004"/>
                    <a:gd name="connsiteX21" fmla="*/ 228600 w 2286000"/>
                    <a:gd name="connsiteY21" fmla="*/ 1524000 h 2286004"/>
                    <a:gd name="connsiteX22" fmla="*/ 152400 w 2286000"/>
                    <a:gd name="connsiteY22" fmla="*/ 1447800 h 2286004"/>
                    <a:gd name="connsiteX23" fmla="*/ 152400 w 2286000"/>
                    <a:gd name="connsiteY23" fmla="*/ 228600 h 2286004"/>
                    <a:gd name="connsiteX24" fmla="*/ 228600 w 2286000"/>
                    <a:gd name="connsiteY24" fmla="*/ 152400 h 2286004"/>
                    <a:gd name="connsiteX25" fmla="*/ 2057400 w 2286000"/>
                    <a:gd name="connsiteY25" fmla="*/ 152400 h 2286004"/>
                    <a:gd name="connsiteX26" fmla="*/ 2133600 w 2286000"/>
                    <a:gd name="connsiteY26" fmla="*/ 228600 h 228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6000" h="2286004">
                      <a:moveTo>
                        <a:pt x="2057400" y="0"/>
                      </a:moveTo>
                      <a:lnTo>
                        <a:pt x="228600" y="0"/>
                      </a:lnTo>
                      <a:cubicBezTo>
                        <a:pt x="102348" y="0"/>
                        <a:pt x="0" y="102348"/>
                        <a:pt x="0" y="228600"/>
                      </a:cubicBezTo>
                      <a:lnTo>
                        <a:pt x="0" y="1447800"/>
                      </a:lnTo>
                      <a:cubicBezTo>
                        <a:pt x="0" y="1574052"/>
                        <a:pt x="102348" y="1676400"/>
                        <a:pt x="228600" y="1676400"/>
                      </a:cubicBezTo>
                      <a:lnTo>
                        <a:pt x="647700" y="1676400"/>
                      </a:lnTo>
                      <a:lnTo>
                        <a:pt x="1082040" y="2255520"/>
                      </a:lnTo>
                      <a:cubicBezTo>
                        <a:pt x="1107291" y="2289187"/>
                        <a:pt x="1155053" y="2296011"/>
                        <a:pt x="1188720" y="2270760"/>
                      </a:cubicBezTo>
                      <a:cubicBezTo>
                        <a:pt x="1194497" y="2266428"/>
                        <a:pt x="1199628" y="2261296"/>
                        <a:pt x="1203960" y="2255520"/>
                      </a:cubicBezTo>
                      <a:lnTo>
                        <a:pt x="1638300" y="1676400"/>
                      </a:lnTo>
                      <a:lnTo>
                        <a:pt x="2057400" y="1676400"/>
                      </a:lnTo>
                      <a:cubicBezTo>
                        <a:pt x="2183652" y="1676400"/>
                        <a:pt x="2286000" y="1574052"/>
                        <a:pt x="2286000" y="1447800"/>
                      </a:cubicBezTo>
                      <a:lnTo>
                        <a:pt x="2286000" y="228600"/>
                      </a:lnTo>
                      <a:cubicBezTo>
                        <a:pt x="2286000" y="102348"/>
                        <a:pt x="2183652" y="0"/>
                        <a:pt x="2057400" y="0"/>
                      </a:cubicBezTo>
                      <a:close/>
                      <a:moveTo>
                        <a:pt x="2133600" y="1447800"/>
                      </a:moveTo>
                      <a:cubicBezTo>
                        <a:pt x="2133600" y="1489884"/>
                        <a:pt x="2099484" y="1524000"/>
                        <a:pt x="2057400" y="1524000"/>
                      </a:cubicBezTo>
                      <a:lnTo>
                        <a:pt x="1600200" y="1524000"/>
                      </a:lnTo>
                      <a:cubicBezTo>
                        <a:pt x="1576099" y="1523495"/>
                        <a:pt x="1553297" y="1534896"/>
                        <a:pt x="1539240" y="1554480"/>
                      </a:cubicBezTo>
                      <a:lnTo>
                        <a:pt x="1143000" y="2083308"/>
                      </a:lnTo>
                      <a:lnTo>
                        <a:pt x="746760" y="1554480"/>
                      </a:lnTo>
                      <a:cubicBezTo>
                        <a:pt x="732703" y="1534896"/>
                        <a:pt x="709901" y="1523495"/>
                        <a:pt x="685800" y="1524000"/>
                      </a:cubicBezTo>
                      <a:lnTo>
                        <a:pt x="228600" y="1524000"/>
                      </a:lnTo>
                      <a:cubicBezTo>
                        <a:pt x="186516" y="1524000"/>
                        <a:pt x="152400" y="1489884"/>
                        <a:pt x="152400" y="1447800"/>
                      </a:cubicBezTo>
                      <a:lnTo>
                        <a:pt x="152400" y="228600"/>
                      </a:lnTo>
                      <a:cubicBezTo>
                        <a:pt x="152400" y="186516"/>
                        <a:pt x="186516" y="152400"/>
                        <a:pt x="228600" y="152400"/>
                      </a:cubicBezTo>
                      <a:lnTo>
                        <a:pt x="2057400" y="152400"/>
                      </a:lnTo>
                      <a:cubicBezTo>
                        <a:pt x="2099484" y="152400"/>
                        <a:pt x="2133600" y="186516"/>
                        <a:pt x="2133600" y="228600"/>
                      </a:cubicBezTo>
                      <a:close/>
                    </a:path>
                  </a:pathLst>
                </a:custGeom>
                <a:solidFill>
                  <a:schemeClr val="accent4"/>
                </a:solidFill>
                <a:ln w="3175" cap="flat">
                  <a:solidFill>
                    <a:schemeClr val="accent4"/>
                  </a:solidFill>
                  <a:prstDash val="solid"/>
                  <a:miter/>
                </a:ln>
              </p:spPr>
              <p:txBody>
                <a:bodyPr rtlCol="0" anchor="ctr"/>
                <a:lstStyle/>
                <a:p>
                  <a:pPr algn="l" defTabSz="802000" rtl="0">
                    <a:defRPr/>
                  </a:pPr>
                  <a:endParaRPr lang="en-AU" sz="877" kern="1200">
                    <a:solidFill>
                      <a:prstClr val="black"/>
                    </a:solidFill>
                    <a:latin typeface="Arial" panose="020B0604020202020204"/>
                    <a:ea typeface="+mn-ea"/>
                    <a:cs typeface="+mn-cs"/>
                  </a:endParaRPr>
                </a:p>
              </p:txBody>
            </p:sp>
          </p:grpSp>
        </p:grpSp>
      </p:grpSp>
      <p:grpSp>
        <p:nvGrpSpPr>
          <p:cNvPr id="25" name="Group 24">
            <a:extLst>
              <a:ext uri="{FF2B5EF4-FFF2-40B4-BE49-F238E27FC236}">
                <a16:creationId xmlns:a16="http://schemas.microsoft.com/office/drawing/2014/main" id="{57476450-E239-B4B3-2B01-92E8FF324016}"/>
              </a:ext>
            </a:extLst>
          </p:cNvPr>
          <p:cNvGrpSpPr/>
          <p:nvPr/>
        </p:nvGrpSpPr>
        <p:grpSpPr>
          <a:xfrm>
            <a:off x="224640" y="2796089"/>
            <a:ext cx="4813994" cy="2937541"/>
            <a:chOff x="224640" y="2796089"/>
            <a:chExt cx="4813994" cy="2937541"/>
          </a:xfrm>
        </p:grpSpPr>
        <p:sp>
          <p:nvSpPr>
            <p:cNvPr id="113" name="Content Placeholder 3">
              <a:extLst>
                <a:ext uri="{FF2B5EF4-FFF2-40B4-BE49-F238E27FC236}">
                  <a16:creationId xmlns:a16="http://schemas.microsoft.com/office/drawing/2014/main" id="{53E6D8F5-0AC1-1EA8-4172-BFF77709B232}"/>
                </a:ext>
              </a:extLst>
            </p:cNvPr>
            <p:cNvSpPr txBox="1">
              <a:spLocks/>
            </p:cNvSpPr>
            <p:nvPr/>
          </p:nvSpPr>
          <p:spPr>
            <a:xfrm>
              <a:off x="252533" y="2796089"/>
              <a:ext cx="4557118" cy="251030"/>
            </a:xfrm>
            <a:prstGeom prst="rect">
              <a:avLst/>
            </a:prstGeom>
          </p:spPr>
          <p:txBody>
            <a:bodyPr vert="horz" wrap="square" lIns="80201" tIns="40100" rIns="80201" bIns="40100" rtlCol="0" anchor="t" anchorCtr="0">
              <a:spAutoFit/>
            </a:bodyPr>
            <a:lstStyle>
              <a:lvl1pPr marL="0" indent="0" algn="l" defTabSz="914406" rtl="0" eaLnBrk="1" latinLnBrk="0" hangingPunct="1">
                <a:lnSpc>
                  <a:spcPct val="90000"/>
                </a:lnSpc>
                <a:spcBef>
                  <a:spcPts val="1000"/>
                </a:spcBef>
                <a:buFont typeface="Arial" panose="020B0604020202020204" pitchFamily="34" charset="0"/>
                <a:buNone/>
                <a:defRPr sz="2400" b="0" kern="1200">
                  <a:solidFill>
                    <a:schemeClr val="accent3"/>
                  </a:solidFill>
                  <a:latin typeface="+mn-lt"/>
                  <a:ea typeface="+mn-ea"/>
                  <a:cs typeface="+mn-cs"/>
                </a:defRPr>
              </a:lvl1pPr>
              <a:lvl2pPr marL="457198" indent="0" algn="l" defTabSz="914406" rtl="0" eaLnBrk="1" latinLnBrk="0" hangingPunct="1">
                <a:lnSpc>
                  <a:spcPct val="90000"/>
                </a:lnSpc>
                <a:spcBef>
                  <a:spcPts val="500"/>
                </a:spcBef>
                <a:buFont typeface="Arial" panose="020B0604020202020204" pitchFamily="34" charset="0"/>
                <a:buNone/>
                <a:defRPr sz="2000" b="1" kern="1200">
                  <a:solidFill>
                    <a:schemeClr val="bg1"/>
                  </a:solidFill>
                  <a:latin typeface="+mn-lt"/>
                  <a:ea typeface="+mn-ea"/>
                  <a:cs typeface="+mn-cs"/>
                </a:defRPr>
              </a:lvl2pPr>
              <a:lvl3pPr marL="914395" indent="0" algn="l" defTabSz="914406" rtl="0" eaLnBrk="1" latinLnBrk="0" hangingPunct="1">
                <a:lnSpc>
                  <a:spcPct val="90000"/>
                </a:lnSpc>
                <a:spcBef>
                  <a:spcPts val="500"/>
                </a:spcBef>
                <a:buFont typeface="Arial" panose="020B0604020202020204" pitchFamily="34" charset="0"/>
                <a:buNone/>
                <a:defRPr sz="1800" b="1" kern="1200">
                  <a:solidFill>
                    <a:schemeClr val="bg1"/>
                  </a:solidFill>
                  <a:latin typeface="+mn-lt"/>
                  <a:ea typeface="+mn-ea"/>
                  <a:cs typeface="+mn-cs"/>
                </a:defRPr>
              </a:lvl3pPr>
              <a:lvl4pPr marL="1371593" indent="0" algn="l" defTabSz="914406" rtl="0" eaLnBrk="1" latinLnBrk="0" hangingPunct="1">
                <a:lnSpc>
                  <a:spcPct val="90000"/>
                </a:lnSpc>
                <a:spcBef>
                  <a:spcPts val="500"/>
                </a:spcBef>
                <a:buFont typeface="Arial" panose="020B0604020202020204" pitchFamily="34" charset="0"/>
                <a:buNone/>
                <a:defRPr sz="1600" b="1" kern="1200">
                  <a:solidFill>
                    <a:schemeClr val="bg1"/>
                  </a:solidFill>
                  <a:latin typeface="+mn-lt"/>
                  <a:ea typeface="+mn-ea"/>
                  <a:cs typeface="+mn-cs"/>
                </a:defRPr>
              </a:lvl4pPr>
              <a:lvl5pPr marL="1828790" indent="0" algn="l" defTabSz="914406" rtl="0" eaLnBrk="1" latinLnBrk="0" hangingPunct="1">
                <a:lnSpc>
                  <a:spcPct val="90000"/>
                </a:lnSpc>
                <a:spcBef>
                  <a:spcPts val="500"/>
                </a:spcBef>
                <a:buFont typeface="Arial" panose="020B0604020202020204" pitchFamily="34" charset="0"/>
                <a:buNone/>
                <a:defRPr sz="1600" b="1" kern="1200">
                  <a:solidFill>
                    <a:schemeClr val="bg1"/>
                  </a:solidFill>
                  <a:latin typeface="+mn-lt"/>
                  <a:ea typeface="+mn-ea"/>
                  <a:cs typeface="+mn-cs"/>
                </a:defRPr>
              </a:lvl5pPr>
              <a:lvl6pPr marL="2285987"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85"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82"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81" indent="0" algn="l" defTabSz="914406"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802006">
                <a:spcBef>
                  <a:spcPts val="877"/>
                </a:spcBef>
                <a:defRPr/>
              </a:pPr>
              <a:r>
                <a:rPr lang="en-AU" sz="1228" b="1" dirty="0">
                  <a:solidFill>
                    <a:srgbClr val="FFBE37"/>
                  </a:solidFill>
                  <a:latin typeface="Arial" panose="020B0604020202020204"/>
                  <a:cs typeface="Arial"/>
                </a:rPr>
                <a:t>Today – disparate solutions, complexity, inefficiency  </a:t>
              </a:r>
            </a:p>
          </p:txBody>
        </p:sp>
        <p:sp>
          <p:nvSpPr>
            <p:cNvPr id="114" name="TextBox 113">
              <a:extLst>
                <a:ext uri="{FF2B5EF4-FFF2-40B4-BE49-F238E27FC236}">
                  <a16:creationId xmlns:a16="http://schemas.microsoft.com/office/drawing/2014/main" id="{89CFC876-1FFD-33F8-483C-5E658DAF3E97}"/>
                </a:ext>
              </a:extLst>
            </p:cNvPr>
            <p:cNvSpPr txBox="1"/>
            <p:nvPr/>
          </p:nvSpPr>
          <p:spPr>
            <a:xfrm>
              <a:off x="224640" y="3281040"/>
              <a:ext cx="4705067" cy="240835"/>
            </a:xfrm>
            <a:prstGeom prst="rect">
              <a:avLst/>
            </a:prstGeom>
            <a:noFill/>
          </p:spPr>
          <p:txBody>
            <a:bodyPr wrap="square" rtlCol="0">
              <a:spAutoFit/>
            </a:bodyPr>
            <a:lstStyle>
              <a:defPPr>
                <a:defRPr lang="en-US"/>
              </a:defPPr>
              <a:lvl1pPr marL="171450" indent="-171450">
                <a:buFont typeface="Arial" panose="020B0604020202020204" pitchFamily="34" charset="0"/>
                <a:buChar char="•"/>
                <a:defRPr sz="1050">
                  <a:latin typeface="Proxima Nova" panose="02000506030000020004" pitchFamily="50" charset="0"/>
                </a:defRPr>
              </a:lvl1pPr>
            </a:lstStyle>
            <a:p>
              <a:pPr marL="0" indent="0" algn="l" defTabSz="802000" rtl="0">
                <a:buNone/>
                <a:defRPr/>
              </a:pPr>
              <a:r>
                <a:rPr lang="en-US" sz="965" kern="1200" dirty="0">
                  <a:solidFill>
                    <a:prstClr val="white"/>
                  </a:solidFill>
                  <a:latin typeface="Arial" panose="020B0604020202020204"/>
                  <a:ea typeface="+mn-ea"/>
                  <a:cs typeface="+mn-cs"/>
                </a:rPr>
                <a:t>Professionals rely on a range of software/tools to generate the client experience.</a:t>
              </a:r>
            </a:p>
          </p:txBody>
        </p:sp>
        <p:grpSp>
          <p:nvGrpSpPr>
            <p:cNvPr id="22" name="Group 21">
              <a:extLst>
                <a:ext uri="{FF2B5EF4-FFF2-40B4-BE49-F238E27FC236}">
                  <a16:creationId xmlns:a16="http://schemas.microsoft.com/office/drawing/2014/main" id="{575084CF-5C9E-BCB2-3C19-B3472C02D84E}"/>
                </a:ext>
              </a:extLst>
            </p:cNvPr>
            <p:cNvGrpSpPr/>
            <p:nvPr/>
          </p:nvGrpSpPr>
          <p:grpSpPr>
            <a:xfrm>
              <a:off x="322799" y="3649618"/>
              <a:ext cx="4715835" cy="2084012"/>
              <a:chOff x="811137" y="3385773"/>
              <a:chExt cx="5376724" cy="2376070"/>
            </a:xfrm>
          </p:grpSpPr>
          <p:sp>
            <p:nvSpPr>
              <p:cNvPr id="183" name="Arc 182">
                <a:extLst>
                  <a:ext uri="{FF2B5EF4-FFF2-40B4-BE49-F238E27FC236}">
                    <a16:creationId xmlns:a16="http://schemas.microsoft.com/office/drawing/2014/main" id="{E69DE045-1BFF-72AA-118D-5D66DAC76011}"/>
                  </a:ext>
                </a:extLst>
              </p:cNvPr>
              <p:cNvSpPr>
                <a:spLocks/>
              </p:cNvSpPr>
              <p:nvPr/>
            </p:nvSpPr>
            <p:spPr>
              <a:xfrm>
                <a:off x="811137" y="3997804"/>
                <a:ext cx="900000" cy="900000"/>
              </a:xfrm>
              <a:prstGeom prst="arc">
                <a:avLst>
                  <a:gd name="adj1" fmla="val 1767691"/>
                  <a:gd name="adj2" fmla="val 1767141"/>
                </a:avLst>
              </a:prstGeom>
              <a:solidFill>
                <a:schemeClr val="accent4"/>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802011" rtl="0">
                  <a:defRPr/>
                </a:pPr>
                <a:endParaRPr lang="en-AU" sz="789" kern="1200">
                  <a:solidFill>
                    <a:prstClr val="black"/>
                  </a:solidFill>
                  <a:latin typeface="Arial" panose="020B0604020202020204"/>
                </a:endParaRPr>
              </a:p>
            </p:txBody>
          </p:sp>
          <p:sp>
            <p:nvSpPr>
              <p:cNvPr id="184" name="TextBox 183">
                <a:extLst>
                  <a:ext uri="{FF2B5EF4-FFF2-40B4-BE49-F238E27FC236}">
                    <a16:creationId xmlns:a16="http://schemas.microsoft.com/office/drawing/2014/main" id="{B391FCE0-313A-6C0A-3149-D9D05F410A76}"/>
                  </a:ext>
                </a:extLst>
              </p:cNvPr>
              <p:cNvSpPr txBox="1"/>
              <p:nvPr/>
            </p:nvSpPr>
            <p:spPr>
              <a:xfrm>
                <a:off x="2218888" y="4733214"/>
                <a:ext cx="774251" cy="243735"/>
              </a:xfrm>
              <a:prstGeom prst="rect">
                <a:avLst/>
              </a:prstGeom>
              <a:noFill/>
            </p:spPr>
            <p:txBody>
              <a:bodyPr wrap="square" rtlCol="0">
                <a:spAutoFit/>
              </a:bodyPr>
              <a:lstStyle/>
              <a:p>
                <a:pPr algn="l" defTabSz="802000" rtl="0">
                  <a:defRPr/>
                </a:pPr>
                <a:r>
                  <a:rPr lang="en-AU" sz="789" kern="1200">
                    <a:solidFill>
                      <a:prstClr val="white"/>
                    </a:solidFill>
                    <a:latin typeface="Arial" panose="020B0604020202020204"/>
                    <a:ea typeface="+mn-ea"/>
                    <a:cs typeface="+mn-cs"/>
                  </a:rPr>
                  <a:t>Portals</a:t>
                </a:r>
              </a:p>
            </p:txBody>
          </p:sp>
          <p:sp>
            <p:nvSpPr>
              <p:cNvPr id="185" name="TextBox 184">
                <a:extLst>
                  <a:ext uri="{FF2B5EF4-FFF2-40B4-BE49-F238E27FC236}">
                    <a16:creationId xmlns:a16="http://schemas.microsoft.com/office/drawing/2014/main" id="{00CB8030-DBD7-A015-8C1F-91B4BD751FB4}"/>
                  </a:ext>
                </a:extLst>
              </p:cNvPr>
              <p:cNvSpPr txBox="1"/>
              <p:nvPr/>
            </p:nvSpPr>
            <p:spPr>
              <a:xfrm>
                <a:off x="2218889" y="3940074"/>
                <a:ext cx="545006" cy="243735"/>
              </a:xfrm>
              <a:prstGeom prst="rect">
                <a:avLst/>
              </a:prstGeom>
              <a:noFill/>
            </p:spPr>
            <p:txBody>
              <a:bodyPr wrap="none" rtlCol="0">
                <a:spAutoFit/>
              </a:bodyPr>
              <a:lstStyle/>
              <a:p>
                <a:pPr algn="l" defTabSz="802000" rtl="0">
                  <a:defRPr/>
                </a:pPr>
                <a:r>
                  <a:rPr lang="en-AU" sz="789" kern="1200">
                    <a:solidFill>
                      <a:prstClr val="white"/>
                    </a:solidFill>
                    <a:latin typeface="Arial" panose="020B0604020202020204"/>
                    <a:ea typeface="+mn-ea"/>
                    <a:cs typeface="+mn-cs"/>
                  </a:rPr>
                  <a:t>emails</a:t>
                </a:r>
              </a:p>
            </p:txBody>
          </p:sp>
          <p:sp>
            <p:nvSpPr>
              <p:cNvPr id="186" name="TextBox 185">
                <a:extLst>
                  <a:ext uri="{FF2B5EF4-FFF2-40B4-BE49-F238E27FC236}">
                    <a16:creationId xmlns:a16="http://schemas.microsoft.com/office/drawing/2014/main" id="{5E164BEA-499A-3200-695E-8F0C68A5FA0A}"/>
                  </a:ext>
                </a:extLst>
              </p:cNvPr>
              <p:cNvSpPr txBox="1"/>
              <p:nvPr/>
            </p:nvSpPr>
            <p:spPr>
              <a:xfrm>
                <a:off x="2218889" y="4336643"/>
                <a:ext cx="417071" cy="243735"/>
              </a:xfrm>
              <a:prstGeom prst="rect">
                <a:avLst/>
              </a:prstGeom>
              <a:noFill/>
            </p:spPr>
            <p:txBody>
              <a:bodyPr wrap="none" rtlCol="0">
                <a:spAutoFit/>
              </a:bodyPr>
              <a:lstStyle/>
              <a:p>
                <a:pPr algn="l" defTabSz="802000" rtl="0">
                  <a:defRPr/>
                </a:pPr>
                <a:r>
                  <a:rPr lang="en-AU" sz="789" kern="1200">
                    <a:solidFill>
                      <a:prstClr val="white"/>
                    </a:solidFill>
                    <a:latin typeface="Arial" panose="020B0604020202020204"/>
                    <a:ea typeface="+mn-ea"/>
                    <a:cs typeface="+mn-cs"/>
                  </a:rPr>
                  <a:t>F2F</a:t>
                </a:r>
              </a:p>
            </p:txBody>
          </p:sp>
          <p:sp>
            <p:nvSpPr>
              <p:cNvPr id="187" name="TextBox 186">
                <a:extLst>
                  <a:ext uri="{FF2B5EF4-FFF2-40B4-BE49-F238E27FC236}">
                    <a16:creationId xmlns:a16="http://schemas.microsoft.com/office/drawing/2014/main" id="{52D75C32-5D15-4A78-0926-C28D29D0404B}"/>
                  </a:ext>
                </a:extLst>
              </p:cNvPr>
              <p:cNvSpPr txBox="1"/>
              <p:nvPr/>
            </p:nvSpPr>
            <p:spPr>
              <a:xfrm>
                <a:off x="3468013" y="5518108"/>
                <a:ext cx="1502255" cy="243735"/>
              </a:xfrm>
              <a:prstGeom prst="rect">
                <a:avLst/>
              </a:prstGeom>
              <a:noFill/>
            </p:spPr>
            <p:txBody>
              <a:bodyPr wrap="square" rtlCol="0">
                <a:spAutoFit/>
              </a:bodyPr>
              <a:lstStyle/>
              <a:p>
                <a:pPr algn="l" defTabSz="802000" rtl="0">
                  <a:defRPr/>
                </a:pPr>
                <a:r>
                  <a:rPr lang="en-AU" sz="789" kern="1200" dirty="0">
                    <a:solidFill>
                      <a:prstClr val="white"/>
                    </a:solidFill>
                    <a:latin typeface="Arial" panose="020B0604020202020204"/>
                    <a:ea typeface="+mn-ea"/>
                    <a:cs typeface="+mn-cs"/>
                  </a:rPr>
                  <a:t>Lawyer</a:t>
                </a:r>
              </a:p>
            </p:txBody>
          </p:sp>
          <p:sp>
            <p:nvSpPr>
              <p:cNvPr id="188" name="TextBox 187">
                <a:extLst>
                  <a:ext uri="{FF2B5EF4-FFF2-40B4-BE49-F238E27FC236}">
                    <a16:creationId xmlns:a16="http://schemas.microsoft.com/office/drawing/2014/main" id="{1F619FF5-5B74-4A6B-DE44-AEAA6AEB077A}"/>
                  </a:ext>
                </a:extLst>
              </p:cNvPr>
              <p:cNvSpPr txBox="1"/>
              <p:nvPr/>
            </p:nvSpPr>
            <p:spPr>
              <a:xfrm>
                <a:off x="3496588" y="4697289"/>
                <a:ext cx="756111" cy="243735"/>
              </a:xfrm>
              <a:prstGeom prst="rect">
                <a:avLst/>
              </a:prstGeom>
              <a:noFill/>
            </p:spPr>
            <p:txBody>
              <a:bodyPr wrap="square" rtlCol="0">
                <a:spAutoFit/>
              </a:bodyPr>
              <a:lstStyle/>
              <a:p>
                <a:pPr algn="l" defTabSz="802000" rtl="0">
                  <a:defRPr/>
                </a:pPr>
                <a:r>
                  <a:rPr lang="en-AU" sz="789" kern="1200">
                    <a:solidFill>
                      <a:prstClr val="white"/>
                    </a:solidFill>
                    <a:latin typeface="Arial" panose="020B0604020202020204"/>
                    <a:ea typeface="+mn-ea"/>
                    <a:cs typeface="+mn-cs"/>
                  </a:rPr>
                  <a:t>Adviser</a:t>
                </a:r>
              </a:p>
            </p:txBody>
          </p:sp>
          <p:sp>
            <p:nvSpPr>
              <p:cNvPr id="189" name="TextBox 188">
                <a:extLst>
                  <a:ext uri="{FF2B5EF4-FFF2-40B4-BE49-F238E27FC236}">
                    <a16:creationId xmlns:a16="http://schemas.microsoft.com/office/drawing/2014/main" id="{608A7D59-969F-8F9C-B0F2-FA60BB8F253F}"/>
                  </a:ext>
                </a:extLst>
              </p:cNvPr>
              <p:cNvSpPr txBox="1"/>
              <p:nvPr/>
            </p:nvSpPr>
            <p:spPr>
              <a:xfrm>
                <a:off x="3491896" y="3804727"/>
                <a:ext cx="809648" cy="243735"/>
              </a:xfrm>
              <a:prstGeom prst="rect">
                <a:avLst/>
              </a:prstGeom>
              <a:noFill/>
            </p:spPr>
            <p:txBody>
              <a:bodyPr wrap="square" rtlCol="0">
                <a:spAutoFit/>
              </a:bodyPr>
              <a:lstStyle/>
              <a:p>
                <a:pPr algn="l" defTabSz="802000" rtl="0">
                  <a:defRPr/>
                </a:pPr>
                <a:r>
                  <a:rPr lang="en-AU" sz="789" kern="1200" dirty="0">
                    <a:solidFill>
                      <a:prstClr val="white"/>
                    </a:solidFill>
                    <a:latin typeface="Arial" panose="020B0604020202020204"/>
                    <a:ea typeface="+mn-ea"/>
                    <a:cs typeface="+mn-cs"/>
                  </a:rPr>
                  <a:t>Accountant</a:t>
                </a:r>
              </a:p>
            </p:txBody>
          </p:sp>
          <p:sp>
            <p:nvSpPr>
              <p:cNvPr id="190" name="Rectangle 189">
                <a:extLst>
                  <a:ext uri="{FF2B5EF4-FFF2-40B4-BE49-F238E27FC236}">
                    <a16:creationId xmlns:a16="http://schemas.microsoft.com/office/drawing/2014/main" id="{08640106-E2A2-0D4F-BFA6-B789FA6B1B37}"/>
                  </a:ext>
                </a:extLst>
              </p:cNvPr>
              <p:cNvSpPr/>
              <p:nvPr/>
            </p:nvSpPr>
            <p:spPr>
              <a:xfrm>
                <a:off x="932538" y="4453809"/>
                <a:ext cx="738725" cy="2340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805" rIns="34805" bIns="34805" rtlCol="0" anchor="ctr">
                <a:spAutoFit/>
              </a:bodyP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defTabSz="589357">
                  <a:defRPr/>
                </a:pPr>
                <a:r>
                  <a:rPr lang="en-AU" sz="877" b="1">
                    <a:solidFill>
                      <a:srgbClr val="293C8B"/>
                    </a:solidFill>
                    <a:latin typeface="Arial" panose="020B0604020202020204"/>
                  </a:rPr>
                  <a:t>CLIENTS</a:t>
                </a:r>
              </a:p>
            </p:txBody>
          </p:sp>
          <p:pic>
            <p:nvPicPr>
              <p:cNvPr id="191" name="Graphic 190" descr="Users outline">
                <a:extLst>
                  <a:ext uri="{FF2B5EF4-FFF2-40B4-BE49-F238E27FC236}">
                    <a16:creationId xmlns:a16="http://schemas.microsoft.com/office/drawing/2014/main" id="{A8B81701-4A65-B7D2-28AF-CBF54D8FF03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7921" y="4073863"/>
                <a:ext cx="448764" cy="460878"/>
              </a:xfrm>
              <a:prstGeom prst="rect">
                <a:avLst/>
              </a:prstGeom>
            </p:spPr>
          </p:pic>
          <p:sp>
            <p:nvSpPr>
              <p:cNvPr id="192" name="TextBox 191">
                <a:extLst>
                  <a:ext uri="{FF2B5EF4-FFF2-40B4-BE49-F238E27FC236}">
                    <a16:creationId xmlns:a16="http://schemas.microsoft.com/office/drawing/2014/main" id="{AA370B9B-BF66-2F14-A5B0-B9F738D00247}"/>
                  </a:ext>
                </a:extLst>
              </p:cNvPr>
              <p:cNvSpPr txBox="1"/>
              <p:nvPr/>
            </p:nvSpPr>
            <p:spPr>
              <a:xfrm>
                <a:off x="4804226" y="3385773"/>
                <a:ext cx="1383635" cy="797586"/>
              </a:xfrm>
              <a:prstGeom prst="rect">
                <a:avLst/>
              </a:prstGeom>
              <a:noFill/>
            </p:spPr>
            <p:txBody>
              <a:bodyPr wrap="square" lIns="0" rtlCol="0">
                <a:spAutoFit/>
              </a:bodyPr>
              <a:lstStyle>
                <a:defPPr>
                  <a:defRPr lang="en-US"/>
                </a:defPPr>
                <a:lvl1pPr>
                  <a:defRPr sz="800">
                    <a:latin typeface="Proxima Nova" panose="02000506030000020004" pitchFamily="50" charset="0"/>
                  </a:defRPr>
                </a:lvl1pPr>
              </a:lstStyle>
              <a:p>
                <a:pPr algn="l" defTabSz="802000" rtl="0">
                  <a:defRPr/>
                </a:pPr>
                <a:r>
                  <a:rPr lang="en-AU" sz="789" kern="1200">
                    <a:solidFill>
                      <a:prstClr val="white"/>
                    </a:solidFill>
                    <a:latin typeface="Arial" panose="020B0604020202020204"/>
                    <a:ea typeface="+mn-ea"/>
                    <a:cs typeface="+mn-cs"/>
                  </a:rPr>
                  <a:t>CRM</a:t>
                </a:r>
              </a:p>
              <a:p>
                <a:pPr algn="l" defTabSz="802000" rtl="0">
                  <a:defRPr/>
                </a:pPr>
                <a:r>
                  <a:rPr lang="en-AU" sz="789" kern="1200">
                    <a:solidFill>
                      <a:prstClr val="white"/>
                    </a:solidFill>
                    <a:latin typeface="Arial" panose="020B0604020202020204"/>
                    <a:ea typeface="+mn-ea"/>
                    <a:cs typeface="+mn-cs"/>
                  </a:rPr>
                  <a:t>Document storage</a:t>
                </a:r>
              </a:p>
              <a:p>
                <a:pPr algn="l" defTabSz="802000" rtl="0">
                  <a:defRPr/>
                </a:pPr>
                <a:r>
                  <a:rPr lang="en-AU" sz="789" kern="1200">
                    <a:solidFill>
                      <a:prstClr val="white"/>
                    </a:solidFill>
                    <a:latin typeface="Arial" panose="020B0604020202020204"/>
                    <a:ea typeface="+mn-ea"/>
                    <a:cs typeface="+mn-cs"/>
                  </a:rPr>
                  <a:t>ATO</a:t>
                </a:r>
              </a:p>
              <a:p>
                <a:pPr algn="l" defTabSz="802000" rtl="0">
                  <a:defRPr/>
                </a:pPr>
                <a:r>
                  <a:rPr lang="en-AU" sz="789" kern="1200">
                    <a:solidFill>
                      <a:prstClr val="white"/>
                    </a:solidFill>
                    <a:latin typeface="Arial" panose="020B0604020202020204"/>
                    <a:ea typeface="+mn-ea"/>
                    <a:cs typeface="+mn-cs"/>
                  </a:rPr>
                  <a:t>Platforms</a:t>
                </a:r>
              </a:p>
              <a:p>
                <a:pPr algn="l" defTabSz="802000" rtl="0">
                  <a:defRPr/>
                </a:pPr>
                <a:r>
                  <a:rPr lang="en-AU" sz="789" kern="1200">
                    <a:solidFill>
                      <a:prstClr val="white"/>
                    </a:solidFill>
                    <a:latin typeface="Arial" panose="020B0604020202020204"/>
                    <a:ea typeface="+mn-ea"/>
                    <a:cs typeface="+mn-cs"/>
                  </a:rPr>
                  <a:t>Administrators</a:t>
                </a:r>
              </a:p>
            </p:txBody>
          </p:sp>
          <p:sp>
            <p:nvSpPr>
              <p:cNvPr id="193" name="TextBox 192">
                <a:extLst>
                  <a:ext uri="{FF2B5EF4-FFF2-40B4-BE49-F238E27FC236}">
                    <a16:creationId xmlns:a16="http://schemas.microsoft.com/office/drawing/2014/main" id="{BAC6FAAB-FC4B-39A6-F639-9212AD395A75}"/>
                  </a:ext>
                </a:extLst>
              </p:cNvPr>
              <p:cNvSpPr txBox="1"/>
              <p:nvPr/>
            </p:nvSpPr>
            <p:spPr>
              <a:xfrm>
                <a:off x="4804226" y="4278851"/>
                <a:ext cx="936296" cy="756115"/>
              </a:xfrm>
              <a:prstGeom prst="rect">
                <a:avLst/>
              </a:prstGeom>
              <a:noFill/>
            </p:spPr>
            <p:txBody>
              <a:bodyPr wrap="none" lIns="0" tIns="0" rIns="0" bIns="0" rtlCol="0">
                <a:noAutofit/>
              </a:bodyPr>
              <a:lstStyle/>
              <a:p>
                <a:pPr algn="l" defTabSz="802000" rtl="0">
                  <a:defRPr/>
                </a:pPr>
                <a:r>
                  <a:rPr lang="en-AU" sz="789" kern="1200" dirty="0">
                    <a:solidFill>
                      <a:prstClr val="white"/>
                    </a:solidFill>
                    <a:latin typeface="Arial" panose="020B0604020202020204"/>
                    <a:ea typeface="+mn-ea"/>
                    <a:cs typeface="+mn-cs"/>
                  </a:rPr>
                  <a:t>Illustrative software</a:t>
                </a:r>
              </a:p>
              <a:p>
                <a:pPr algn="l" defTabSz="802000" rtl="0">
                  <a:defRPr/>
                </a:pPr>
                <a:r>
                  <a:rPr lang="en-AU" sz="789" kern="1200" dirty="0">
                    <a:solidFill>
                      <a:prstClr val="white"/>
                    </a:solidFill>
                    <a:latin typeface="Arial" panose="020B0604020202020204"/>
                    <a:ea typeface="+mn-ea"/>
                    <a:cs typeface="+mn-cs"/>
                  </a:rPr>
                  <a:t>CRM</a:t>
                </a:r>
              </a:p>
              <a:p>
                <a:pPr algn="l" defTabSz="802000" rtl="0">
                  <a:defRPr/>
                </a:pPr>
                <a:r>
                  <a:rPr lang="en-AU" sz="789" kern="1200" dirty="0">
                    <a:solidFill>
                      <a:prstClr val="white"/>
                    </a:solidFill>
                    <a:latin typeface="Arial" panose="020B0604020202020204"/>
                    <a:ea typeface="+mn-ea"/>
                    <a:cs typeface="+mn-cs"/>
                  </a:rPr>
                  <a:t>Platforms</a:t>
                </a:r>
              </a:p>
              <a:p>
                <a:pPr algn="l" defTabSz="802000" rtl="0">
                  <a:defRPr/>
                </a:pPr>
                <a:r>
                  <a:rPr lang="en-AU" sz="789" kern="1200" dirty="0">
                    <a:solidFill>
                      <a:prstClr val="white"/>
                    </a:solidFill>
                    <a:latin typeface="Arial" panose="020B0604020202020204"/>
                    <a:ea typeface="+mn-ea"/>
                    <a:cs typeface="+mn-cs"/>
                  </a:rPr>
                  <a:t>Banks</a:t>
                </a:r>
              </a:p>
              <a:p>
                <a:pPr algn="l" defTabSz="802000" rtl="0">
                  <a:defRPr/>
                </a:pPr>
                <a:r>
                  <a:rPr lang="en-AU" sz="789" kern="1200" dirty="0">
                    <a:solidFill>
                      <a:prstClr val="white"/>
                    </a:solidFill>
                    <a:latin typeface="Arial" panose="020B0604020202020204"/>
                    <a:ea typeface="+mn-ea"/>
                    <a:cs typeface="+mn-cs"/>
                  </a:rPr>
                  <a:t>Advice tools</a:t>
                </a:r>
              </a:p>
              <a:p>
                <a:pPr algn="l" defTabSz="802000" rtl="0">
                  <a:defRPr/>
                </a:pPr>
                <a:r>
                  <a:rPr lang="en-AU" sz="789" kern="1200" dirty="0">
                    <a:solidFill>
                      <a:prstClr val="white"/>
                    </a:solidFill>
                    <a:latin typeface="Arial" panose="020B0604020202020204"/>
                    <a:ea typeface="+mn-ea"/>
                    <a:cs typeface="+mn-cs"/>
                  </a:rPr>
                  <a:t>Document storage</a:t>
                </a:r>
              </a:p>
            </p:txBody>
          </p:sp>
          <p:sp>
            <p:nvSpPr>
              <p:cNvPr id="194" name="TextBox 193">
                <a:extLst>
                  <a:ext uri="{FF2B5EF4-FFF2-40B4-BE49-F238E27FC236}">
                    <a16:creationId xmlns:a16="http://schemas.microsoft.com/office/drawing/2014/main" id="{7ABD72C0-3C4C-8EA5-BE5A-7B2660CAD481}"/>
                  </a:ext>
                </a:extLst>
              </p:cNvPr>
              <p:cNvSpPr txBox="1"/>
              <p:nvPr/>
            </p:nvSpPr>
            <p:spPr>
              <a:xfrm>
                <a:off x="5532899" y="4101446"/>
                <a:ext cx="570421" cy="138928"/>
              </a:xfrm>
              <a:prstGeom prst="rect">
                <a:avLst/>
              </a:prstGeom>
              <a:noFill/>
            </p:spPr>
            <p:txBody>
              <a:bodyPr wrap="none" lIns="0" tIns="0" rIns="0" bIns="0" rtlCol="0">
                <a:noAutofit/>
              </a:bodyPr>
              <a:lstStyle/>
              <a:p>
                <a:pPr algn="l" defTabSz="802000" rtl="0">
                  <a:defRPr/>
                </a:pPr>
                <a:endParaRPr lang="en-AU" sz="702" kern="1200">
                  <a:solidFill>
                    <a:prstClr val="white"/>
                  </a:solidFill>
                  <a:latin typeface="Arial" panose="020B0604020202020204"/>
                  <a:ea typeface="+mn-ea"/>
                  <a:cs typeface="+mn-cs"/>
                </a:endParaRPr>
              </a:p>
            </p:txBody>
          </p:sp>
          <p:sp>
            <p:nvSpPr>
              <p:cNvPr id="195" name="TextBox 194">
                <a:extLst>
                  <a:ext uri="{FF2B5EF4-FFF2-40B4-BE49-F238E27FC236}">
                    <a16:creationId xmlns:a16="http://schemas.microsoft.com/office/drawing/2014/main" id="{76FF94BF-C7DC-6F22-0E1E-2E4ED940EEBE}"/>
                  </a:ext>
                </a:extLst>
              </p:cNvPr>
              <p:cNvSpPr txBox="1"/>
              <p:nvPr/>
            </p:nvSpPr>
            <p:spPr>
              <a:xfrm>
                <a:off x="4804226" y="5130601"/>
                <a:ext cx="1259442" cy="382198"/>
              </a:xfrm>
              <a:prstGeom prst="rect">
                <a:avLst/>
              </a:prstGeom>
              <a:noFill/>
            </p:spPr>
            <p:txBody>
              <a:bodyPr wrap="square" lIns="0" rtlCol="0">
                <a:spAutoFit/>
              </a:bodyPr>
              <a:lstStyle>
                <a:defPPr>
                  <a:defRPr lang="en-US"/>
                </a:defPPr>
                <a:lvl1pPr>
                  <a:defRPr sz="800">
                    <a:latin typeface="Proxima Nova" panose="02000506030000020004" pitchFamily="50" charset="0"/>
                  </a:defRPr>
                </a:lvl1pPr>
              </a:lstStyle>
              <a:p>
                <a:pPr algn="l" defTabSz="802000" rtl="0">
                  <a:defRPr/>
                </a:pPr>
                <a:r>
                  <a:rPr lang="en-AU" sz="789" kern="1200" dirty="0">
                    <a:solidFill>
                      <a:prstClr val="white"/>
                    </a:solidFill>
                    <a:latin typeface="Arial" panose="020B0604020202020204"/>
                    <a:ea typeface="+mn-ea"/>
                    <a:cs typeface="+mn-cs"/>
                  </a:rPr>
                  <a:t>Other software systems, processes</a:t>
                </a:r>
              </a:p>
            </p:txBody>
          </p:sp>
          <p:cxnSp>
            <p:nvCxnSpPr>
              <p:cNvPr id="196" name="Straight Connector 195">
                <a:extLst>
                  <a:ext uri="{FF2B5EF4-FFF2-40B4-BE49-F238E27FC236}">
                    <a16:creationId xmlns:a16="http://schemas.microsoft.com/office/drawing/2014/main" id="{9EB078E8-1712-7AA4-CAB8-B4F83420265F}"/>
                  </a:ext>
                </a:extLst>
              </p:cNvPr>
              <p:cNvCxnSpPr>
                <a:cxnSpLocks/>
              </p:cNvCxnSpPr>
              <p:nvPr/>
            </p:nvCxnSpPr>
            <p:spPr>
              <a:xfrm>
                <a:off x="3982529" y="5304937"/>
                <a:ext cx="725417" cy="0"/>
              </a:xfrm>
              <a:prstGeom prst="line">
                <a:avLst/>
              </a:prstGeom>
              <a:ln w="1587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22B418D-81B0-B158-DA07-F1BD82E656C6}"/>
                  </a:ext>
                </a:extLst>
              </p:cNvPr>
              <p:cNvCxnSpPr>
                <a:cxnSpLocks/>
              </p:cNvCxnSpPr>
              <p:nvPr/>
            </p:nvCxnSpPr>
            <p:spPr>
              <a:xfrm>
                <a:off x="3982529" y="4451603"/>
                <a:ext cx="748863" cy="0"/>
              </a:xfrm>
              <a:prstGeom prst="line">
                <a:avLst/>
              </a:prstGeom>
              <a:ln w="1587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B7B44EC1-9860-7FE4-DBD0-43814A0ECEF5}"/>
                  </a:ext>
                </a:extLst>
              </p:cNvPr>
              <p:cNvCxnSpPr>
                <a:cxnSpLocks/>
              </p:cNvCxnSpPr>
              <p:nvPr/>
            </p:nvCxnSpPr>
            <p:spPr>
              <a:xfrm>
                <a:off x="3982529" y="3629657"/>
                <a:ext cx="748863" cy="0"/>
              </a:xfrm>
              <a:prstGeom prst="line">
                <a:avLst/>
              </a:prstGeom>
              <a:ln w="15875">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199" name="Group 198">
                <a:extLst>
                  <a:ext uri="{FF2B5EF4-FFF2-40B4-BE49-F238E27FC236}">
                    <a16:creationId xmlns:a16="http://schemas.microsoft.com/office/drawing/2014/main" id="{4D28FF96-719B-ED9A-1851-85B3E3CBFC74}"/>
                  </a:ext>
                </a:extLst>
              </p:cNvPr>
              <p:cNvGrpSpPr/>
              <p:nvPr/>
            </p:nvGrpSpPr>
            <p:grpSpPr>
              <a:xfrm>
                <a:off x="3553873" y="5093461"/>
                <a:ext cx="383335" cy="393685"/>
                <a:chOff x="3241265" y="3334231"/>
                <a:chExt cx="285707" cy="293421"/>
              </a:xfrm>
            </p:grpSpPr>
            <p:sp>
              <p:nvSpPr>
                <p:cNvPr id="200" name="Oval 199">
                  <a:extLst>
                    <a:ext uri="{FF2B5EF4-FFF2-40B4-BE49-F238E27FC236}">
                      <a16:creationId xmlns:a16="http://schemas.microsoft.com/office/drawing/2014/main" id="{CD6D3FBA-1CA3-D8A2-7A79-15499788E6A1}"/>
                    </a:ext>
                  </a:extLst>
                </p:cNvPr>
                <p:cNvSpPr/>
                <p:nvPr/>
              </p:nvSpPr>
              <p:spPr>
                <a:xfrm>
                  <a:off x="3241265" y="3334231"/>
                  <a:ext cx="285707" cy="2934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789" kern="1200">
                    <a:solidFill>
                      <a:prstClr val="white"/>
                    </a:solidFill>
                    <a:latin typeface="Arial" panose="020B0604020202020204"/>
                  </a:endParaRPr>
                </a:p>
              </p:txBody>
            </p:sp>
            <p:grpSp>
              <p:nvGrpSpPr>
                <p:cNvPr id="201" name="Group 200">
                  <a:extLst>
                    <a:ext uri="{FF2B5EF4-FFF2-40B4-BE49-F238E27FC236}">
                      <a16:creationId xmlns:a16="http://schemas.microsoft.com/office/drawing/2014/main" id="{41E04BA5-DF8F-B6CC-973E-F6B4986C6E02}"/>
                    </a:ext>
                  </a:extLst>
                </p:cNvPr>
                <p:cNvGrpSpPr/>
                <p:nvPr/>
              </p:nvGrpSpPr>
              <p:grpSpPr>
                <a:xfrm>
                  <a:off x="3284786" y="3373192"/>
                  <a:ext cx="185743" cy="190758"/>
                  <a:chOff x="1961819" y="5715984"/>
                  <a:chExt cx="403570" cy="403570"/>
                </a:xfrm>
              </p:grpSpPr>
              <p:grpSp>
                <p:nvGrpSpPr>
                  <p:cNvPr id="202" name="Group 201">
                    <a:extLst>
                      <a:ext uri="{FF2B5EF4-FFF2-40B4-BE49-F238E27FC236}">
                        <a16:creationId xmlns:a16="http://schemas.microsoft.com/office/drawing/2014/main" id="{C05C1CC6-3FE8-A0D3-2FAB-87BE09D46BA0}"/>
                      </a:ext>
                    </a:extLst>
                  </p:cNvPr>
                  <p:cNvGrpSpPr/>
                  <p:nvPr/>
                </p:nvGrpSpPr>
                <p:grpSpPr>
                  <a:xfrm>
                    <a:off x="1961819" y="5715984"/>
                    <a:ext cx="403570" cy="403570"/>
                    <a:chOff x="4593182" y="2425037"/>
                    <a:chExt cx="367734" cy="367734"/>
                  </a:xfrm>
                </p:grpSpPr>
                <p:pic>
                  <p:nvPicPr>
                    <p:cNvPr id="204" name="Graphic 203">
                      <a:extLst>
                        <a:ext uri="{FF2B5EF4-FFF2-40B4-BE49-F238E27FC236}">
                          <a16:creationId xmlns:a16="http://schemas.microsoft.com/office/drawing/2014/main" id="{AC2B9C26-A947-F6E5-3512-DBF4E424FDE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93182" y="2425037"/>
                      <a:ext cx="367734" cy="367734"/>
                    </a:xfrm>
                    <a:prstGeom prst="rect">
                      <a:avLst/>
                    </a:prstGeom>
                  </p:spPr>
                </p:pic>
                <p:sp>
                  <p:nvSpPr>
                    <p:cNvPr id="205" name="Oval 204">
                      <a:extLst>
                        <a:ext uri="{FF2B5EF4-FFF2-40B4-BE49-F238E27FC236}">
                          <a16:creationId xmlns:a16="http://schemas.microsoft.com/office/drawing/2014/main" id="{E756D16C-BD5C-0363-8D73-9E73F98A9D03}"/>
                        </a:ext>
                      </a:extLst>
                    </p:cNvPr>
                    <p:cNvSpPr/>
                    <p:nvPr/>
                  </p:nvSpPr>
                  <p:spPr>
                    <a:xfrm>
                      <a:off x="4809424" y="2644148"/>
                      <a:ext cx="148623" cy="148623"/>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789" kern="1200">
                        <a:solidFill>
                          <a:prstClr val="white"/>
                        </a:solidFill>
                        <a:latin typeface="Arial" panose="020B0604020202020204"/>
                      </a:endParaRPr>
                    </a:p>
                  </p:txBody>
                </p:sp>
              </p:grpSp>
              <p:pic>
                <p:nvPicPr>
                  <p:cNvPr id="203" name="Graphic 202">
                    <a:extLst>
                      <a:ext uri="{FF2B5EF4-FFF2-40B4-BE49-F238E27FC236}">
                        <a16:creationId xmlns:a16="http://schemas.microsoft.com/office/drawing/2014/main" id="{1832E50A-18AE-189D-94F9-FB3A44E950D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236174" y="5989260"/>
                    <a:ext cx="97060" cy="97060"/>
                  </a:xfrm>
                  <a:prstGeom prst="rect">
                    <a:avLst/>
                  </a:prstGeom>
                </p:spPr>
              </p:pic>
            </p:grpSp>
          </p:grpSp>
          <p:grpSp>
            <p:nvGrpSpPr>
              <p:cNvPr id="206" name="Group 205">
                <a:extLst>
                  <a:ext uri="{FF2B5EF4-FFF2-40B4-BE49-F238E27FC236}">
                    <a16:creationId xmlns:a16="http://schemas.microsoft.com/office/drawing/2014/main" id="{8C544271-4A73-7A59-DB99-A358A78DEA57}"/>
                  </a:ext>
                </a:extLst>
              </p:cNvPr>
              <p:cNvGrpSpPr/>
              <p:nvPr/>
            </p:nvGrpSpPr>
            <p:grpSpPr>
              <a:xfrm>
                <a:off x="3553877" y="3412138"/>
                <a:ext cx="412406" cy="393685"/>
                <a:chOff x="3541967" y="4273730"/>
                <a:chExt cx="307374" cy="293421"/>
              </a:xfrm>
            </p:grpSpPr>
            <p:sp>
              <p:nvSpPr>
                <p:cNvPr id="207" name="Oval 206">
                  <a:extLst>
                    <a:ext uri="{FF2B5EF4-FFF2-40B4-BE49-F238E27FC236}">
                      <a16:creationId xmlns:a16="http://schemas.microsoft.com/office/drawing/2014/main" id="{05E1F85D-91C9-93AB-86B4-279B9CD37868}"/>
                    </a:ext>
                  </a:extLst>
                </p:cNvPr>
                <p:cNvSpPr/>
                <p:nvPr/>
              </p:nvSpPr>
              <p:spPr>
                <a:xfrm>
                  <a:off x="3541967" y="4273730"/>
                  <a:ext cx="285707" cy="2934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789" kern="1200">
                    <a:solidFill>
                      <a:prstClr val="white"/>
                    </a:solidFill>
                    <a:latin typeface="Arial" panose="020B0604020202020204"/>
                  </a:endParaRPr>
                </a:p>
              </p:txBody>
            </p:sp>
            <p:grpSp>
              <p:nvGrpSpPr>
                <p:cNvPr id="208" name="Group 207">
                  <a:extLst>
                    <a:ext uri="{FF2B5EF4-FFF2-40B4-BE49-F238E27FC236}">
                      <a16:creationId xmlns:a16="http://schemas.microsoft.com/office/drawing/2014/main" id="{F56CDE9B-E1A3-58E1-F52A-AEC11FDFC4A4}"/>
                    </a:ext>
                  </a:extLst>
                </p:cNvPr>
                <p:cNvGrpSpPr/>
                <p:nvPr/>
              </p:nvGrpSpPr>
              <p:grpSpPr>
                <a:xfrm>
                  <a:off x="3589395" y="4314356"/>
                  <a:ext cx="259946" cy="247754"/>
                  <a:chOff x="8405526" y="4110204"/>
                  <a:chExt cx="416698" cy="386716"/>
                </a:xfrm>
              </p:grpSpPr>
              <p:grpSp>
                <p:nvGrpSpPr>
                  <p:cNvPr id="209" name="Group 208">
                    <a:extLst>
                      <a:ext uri="{FF2B5EF4-FFF2-40B4-BE49-F238E27FC236}">
                        <a16:creationId xmlns:a16="http://schemas.microsoft.com/office/drawing/2014/main" id="{6D36B80B-9610-D354-C010-CC4176673120}"/>
                      </a:ext>
                    </a:extLst>
                  </p:cNvPr>
                  <p:cNvGrpSpPr/>
                  <p:nvPr/>
                </p:nvGrpSpPr>
                <p:grpSpPr>
                  <a:xfrm>
                    <a:off x="8405526" y="4110204"/>
                    <a:ext cx="297752" cy="297752"/>
                    <a:chOff x="4593182" y="2425037"/>
                    <a:chExt cx="367734" cy="367734"/>
                  </a:xfrm>
                </p:grpSpPr>
                <p:pic>
                  <p:nvPicPr>
                    <p:cNvPr id="211" name="Graphic 210">
                      <a:extLst>
                        <a:ext uri="{FF2B5EF4-FFF2-40B4-BE49-F238E27FC236}">
                          <a16:creationId xmlns:a16="http://schemas.microsoft.com/office/drawing/2014/main" id="{DC361EAA-8390-834D-765B-94F7F8A05E0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93182" y="2425037"/>
                      <a:ext cx="367734" cy="367734"/>
                    </a:xfrm>
                    <a:prstGeom prst="rect">
                      <a:avLst/>
                    </a:prstGeom>
                  </p:spPr>
                </p:pic>
                <p:sp>
                  <p:nvSpPr>
                    <p:cNvPr id="212" name="Oval 211">
                      <a:extLst>
                        <a:ext uri="{FF2B5EF4-FFF2-40B4-BE49-F238E27FC236}">
                          <a16:creationId xmlns:a16="http://schemas.microsoft.com/office/drawing/2014/main" id="{0116C6E9-6A9D-FE16-8239-2B2D835BD9AD}"/>
                        </a:ext>
                      </a:extLst>
                    </p:cNvPr>
                    <p:cNvSpPr/>
                    <p:nvPr/>
                  </p:nvSpPr>
                  <p:spPr>
                    <a:xfrm>
                      <a:off x="4809424" y="2644148"/>
                      <a:ext cx="148623" cy="148623"/>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789" kern="1200">
                        <a:solidFill>
                          <a:prstClr val="white"/>
                        </a:solidFill>
                        <a:latin typeface="Arial" panose="020B0604020202020204"/>
                      </a:endParaRPr>
                    </a:p>
                  </p:txBody>
                </p:sp>
              </p:grpSp>
              <p:sp>
                <p:nvSpPr>
                  <p:cNvPr id="210" name="TextBox 209">
                    <a:extLst>
                      <a:ext uri="{FF2B5EF4-FFF2-40B4-BE49-F238E27FC236}">
                        <a16:creationId xmlns:a16="http://schemas.microsoft.com/office/drawing/2014/main" id="{85B22874-F445-156C-B5A4-C278A55B8528}"/>
                      </a:ext>
                    </a:extLst>
                  </p:cNvPr>
                  <p:cNvSpPr txBox="1"/>
                  <p:nvPr/>
                </p:nvSpPr>
                <p:spPr>
                  <a:xfrm>
                    <a:off x="8494246" y="4213369"/>
                    <a:ext cx="327978" cy="283551"/>
                  </a:xfrm>
                  <a:prstGeom prst="rect">
                    <a:avLst/>
                  </a:prstGeom>
                  <a:noFill/>
                </p:spPr>
                <p:txBody>
                  <a:bodyPr wrap="none" rtlCol="0">
                    <a:spAutoFit/>
                  </a:bodyPr>
                  <a:lstStyle/>
                  <a:p>
                    <a:pPr algn="l" defTabSz="802000" rtl="0">
                      <a:defRPr/>
                    </a:pPr>
                    <a:r>
                      <a:rPr lang="en-US" sz="789" kern="1200">
                        <a:solidFill>
                          <a:srgbClr val="FFBE37"/>
                        </a:solidFill>
                        <a:latin typeface="Arial" panose="020B0604020202020204"/>
                        <a:ea typeface="+mn-ea"/>
                        <a:cs typeface="+mn-cs"/>
                      </a:rPr>
                      <a:t>$</a:t>
                    </a:r>
                    <a:endParaRPr lang="en-AU" sz="789" kern="1200">
                      <a:solidFill>
                        <a:srgbClr val="FFBE37"/>
                      </a:solidFill>
                      <a:latin typeface="Arial" panose="020B0604020202020204"/>
                      <a:ea typeface="+mn-ea"/>
                      <a:cs typeface="+mn-cs"/>
                    </a:endParaRPr>
                  </a:p>
                </p:txBody>
              </p:sp>
            </p:grpSp>
          </p:grpSp>
          <p:grpSp>
            <p:nvGrpSpPr>
              <p:cNvPr id="213" name="Group 212">
                <a:extLst>
                  <a:ext uri="{FF2B5EF4-FFF2-40B4-BE49-F238E27FC236}">
                    <a16:creationId xmlns:a16="http://schemas.microsoft.com/office/drawing/2014/main" id="{E54EE2C6-DE35-6CD2-845A-551B329545B6}"/>
                  </a:ext>
                </a:extLst>
              </p:cNvPr>
              <p:cNvGrpSpPr/>
              <p:nvPr/>
            </p:nvGrpSpPr>
            <p:grpSpPr>
              <a:xfrm>
                <a:off x="3553873" y="4266490"/>
                <a:ext cx="383335" cy="393685"/>
                <a:chOff x="3572119" y="3782025"/>
                <a:chExt cx="285707" cy="293421"/>
              </a:xfrm>
            </p:grpSpPr>
            <p:sp>
              <p:nvSpPr>
                <p:cNvPr id="214" name="Oval 213">
                  <a:extLst>
                    <a:ext uri="{FF2B5EF4-FFF2-40B4-BE49-F238E27FC236}">
                      <a16:creationId xmlns:a16="http://schemas.microsoft.com/office/drawing/2014/main" id="{06F7B930-CA9A-83C5-288D-18A52D4165E5}"/>
                    </a:ext>
                  </a:extLst>
                </p:cNvPr>
                <p:cNvSpPr/>
                <p:nvPr/>
              </p:nvSpPr>
              <p:spPr>
                <a:xfrm>
                  <a:off x="3572119" y="3782025"/>
                  <a:ext cx="285707" cy="2934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789" kern="1200">
                    <a:solidFill>
                      <a:prstClr val="white"/>
                    </a:solidFill>
                    <a:latin typeface="Arial" panose="020B0604020202020204"/>
                  </a:endParaRPr>
                </a:p>
              </p:txBody>
            </p:sp>
            <p:grpSp>
              <p:nvGrpSpPr>
                <p:cNvPr id="215" name="Group 214">
                  <a:extLst>
                    <a:ext uri="{FF2B5EF4-FFF2-40B4-BE49-F238E27FC236}">
                      <a16:creationId xmlns:a16="http://schemas.microsoft.com/office/drawing/2014/main" id="{21F7E6E3-3888-05CF-A5EE-67D267DE6503}"/>
                    </a:ext>
                  </a:extLst>
                </p:cNvPr>
                <p:cNvGrpSpPr/>
                <p:nvPr/>
              </p:nvGrpSpPr>
              <p:grpSpPr>
                <a:xfrm>
                  <a:off x="3622101" y="3826056"/>
                  <a:ext cx="185743" cy="190758"/>
                  <a:chOff x="8458016" y="3348027"/>
                  <a:chExt cx="297752" cy="297752"/>
                </a:xfrm>
              </p:grpSpPr>
              <p:grpSp>
                <p:nvGrpSpPr>
                  <p:cNvPr id="216" name="Group 215">
                    <a:extLst>
                      <a:ext uri="{FF2B5EF4-FFF2-40B4-BE49-F238E27FC236}">
                        <a16:creationId xmlns:a16="http://schemas.microsoft.com/office/drawing/2014/main" id="{C5A5E6FC-A31A-2F60-502F-E75C2ACFAE55}"/>
                      </a:ext>
                    </a:extLst>
                  </p:cNvPr>
                  <p:cNvGrpSpPr/>
                  <p:nvPr/>
                </p:nvGrpSpPr>
                <p:grpSpPr>
                  <a:xfrm>
                    <a:off x="8458016" y="3348027"/>
                    <a:ext cx="297752" cy="297752"/>
                    <a:chOff x="4593182" y="2425037"/>
                    <a:chExt cx="367734" cy="367734"/>
                  </a:xfrm>
                </p:grpSpPr>
                <p:pic>
                  <p:nvPicPr>
                    <p:cNvPr id="218" name="Graphic 217">
                      <a:extLst>
                        <a:ext uri="{FF2B5EF4-FFF2-40B4-BE49-F238E27FC236}">
                          <a16:creationId xmlns:a16="http://schemas.microsoft.com/office/drawing/2014/main" id="{B0E1AB3C-F649-CBBC-45C4-D67A8A400A5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93182" y="2425037"/>
                      <a:ext cx="367734" cy="367734"/>
                    </a:xfrm>
                    <a:prstGeom prst="rect">
                      <a:avLst/>
                    </a:prstGeom>
                  </p:spPr>
                </p:pic>
                <p:sp>
                  <p:nvSpPr>
                    <p:cNvPr id="219" name="Oval 218">
                      <a:extLst>
                        <a:ext uri="{FF2B5EF4-FFF2-40B4-BE49-F238E27FC236}">
                          <a16:creationId xmlns:a16="http://schemas.microsoft.com/office/drawing/2014/main" id="{EC863BE1-09C5-711B-2917-0D7CE130CE8C}"/>
                        </a:ext>
                      </a:extLst>
                    </p:cNvPr>
                    <p:cNvSpPr/>
                    <p:nvPr/>
                  </p:nvSpPr>
                  <p:spPr>
                    <a:xfrm>
                      <a:off x="4809424" y="2644148"/>
                      <a:ext cx="148623" cy="148623"/>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789" kern="1200">
                        <a:solidFill>
                          <a:prstClr val="white"/>
                        </a:solidFill>
                        <a:latin typeface="Arial" panose="020B0604020202020204"/>
                      </a:endParaRPr>
                    </a:p>
                  </p:txBody>
                </p:sp>
              </p:grpSp>
              <p:sp>
                <p:nvSpPr>
                  <p:cNvPr id="217" name="Freeform: Shape 216">
                    <a:extLst>
                      <a:ext uri="{FF2B5EF4-FFF2-40B4-BE49-F238E27FC236}">
                        <a16:creationId xmlns:a16="http://schemas.microsoft.com/office/drawing/2014/main" id="{72E41041-9774-65BF-F802-420E4F645C0A}"/>
                      </a:ext>
                    </a:extLst>
                  </p:cNvPr>
                  <p:cNvSpPr/>
                  <p:nvPr/>
                </p:nvSpPr>
                <p:spPr>
                  <a:xfrm>
                    <a:off x="8657077" y="3554380"/>
                    <a:ext cx="78416" cy="78416"/>
                  </a:xfrm>
                  <a:custGeom>
                    <a:avLst/>
                    <a:gdLst>
                      <a:gd name="connsiteX0" fmla="*/ 2057400 w 2286000"/>
                      <a:gd name="connsiteY0" fmla="*/ 0 h 2286004"/>
                      <a:gd name="connsiteX1" fmla="*/ 228600 w 2286000"/>
                      <a:gd name="connsiteY1" fmla="*/ 0 h 2286004"/>
                      <a:gd name="connsiteX2" fmla="*/ 0 w 2286000"/>
                      <a:gd name="connsiteY2" fmla="*/ 228600 h 2286004"/>
                      <a:gd name="connsiteX3" fmla="*/ 0 w 2286000"/>
                      <a:gd name="connsiteY3" fmla="*/ 1447800 h 2286004"/>
                      <a:gd name="connsiteX4" fmla="*/ 228600 w 2286000"/>
                      <a:gd name="connsiteY4" fmla="*/ 1676400 h 2286004"/>
                      <a:gd name="connsiteX5" fmla="*/ 647700 w 2286000"/>
                      <a:gd name="connsiteY5" fmla="*/ 1676400 h 2286004"/>
                      <a:gd name="connsiteX6" fmla="*/ 1082040 w 2286000"/>
                      <a:gd name="connsiteY6" fmla="*/ 2255520 h 2286004"/>
                      <a:gd name="connsiteX7" fmla="*/ 1188720 w 2286000"/>
                      <a:gd name="connsiteY7" fmla="*/ 2270760 h 2286004"/>
                      <a:gd name="connsiteX8" fmla="*/ 1203960 w 2286000"/>
                      <a:gd name="connsiteY8" fmla="*/ 2255520 h 2286004"/>
                      <a:gd name="connsiteX9" fmla="*/ 1638300 w 2286000"/>
                      <a:gd name="connsiteY9" fmla="*/ 1676400 h 2286004"/>
                      <a:gd name="connsiteX10" fmla="*/ 2057400 w 2286000"/>
                      <a:gd name="connsiteY10" fmla="*/ 1676400 h 2286004"/>
                      <a:gd name="connsiteX11" fmla="*/ 2286000 w 2286000"/>
                      <a:gd name="connsiteY11" fmla="*/ 1447800 h 2286004"/>
                      <a:gd name="connsiteX12" fmla="*/ 2286000 w 2286000"/>
                      <a:gd name="connsiteY12" fmla="*/ 228600 h 2286004"/>
                      <a:gd name="connsiteX13" fmla="*/ 2057400 w 2286000"/>
                      <a:gd name="connsiteY13" fmla="*/ 0 h 2286004"/>
                      <a:gd name="connsiteX14" fmla="*/ 2133600 w 2286000"/>
                      <a:gd name="connsiteY14" fmla="*/ 1447800 h 2286004"/>
                      <a:gd name="connsiteX15" fmla="*/ 2057400 w 2286000"/>
                      <a:gd name="connsiteY15" fmla="*/ 1524000 h 2286004"/>
                      <a:gd name="connsiteX16" fmla="*/ 1600200 w 2286000"/>
                      <a:gd name="connsiteY16" fmla="*/ 1524000 h 2286004"/>
                      <a:gd name="connsiteX17" fmla="*/ 1539240 w 2286000"/>
                      <a:gd name="connsiteY17" fmla="*/ 1554480 h 2286004"/>
                      <a:gd name="connsiteX18" fmla="*/ 1143000 w 2286000"/>
                      <a:gd name="connsiteY18" fmla="*/ 2083308 h 2286004"/>
                      <a:gd name="connsiteX19" fmla="*/ 746760 w 2286000"/>
                      <a:gd name="connsiteY19" fmla="*/ 1554480 h 2286004"/>
                      <a:gd name="connsiteX20" fmla="*/ 685800 w 2286000"/>
                      <a:gd name="connsiteY20" fmla="*/ 1524000 h 2286004"/>
                      <a:gd name="connsiteX21" fmla="*/ 228600 w 2286000"/>
                      <a:gd name="connsiteY21" fmla="*/ 1524000 h 2286004"/>
                      <a:gd name="connsiteX22" fmla="*/ 152400 w 2286000"/>
                      <a:gd name="connsiteY22" fmla="*/ 1447800 h 2286004"/>
                      <a:gd name="connsiteX23" fmla="*/ 152400 w 2286000"/>
                      <a:gd name="connsiteY23" fmla="*/ 228600 h 2286004"/>
                      <a:gd name="connsiteX24" fmla="*/ 228600 w 2286000"/>
                      <a:gd name="connsiteY24" fmla="*/ 152400 h 2286004"/>
                      <a:gd name="connsiteX25" fmla="*/ 2057400 w 2286000"/>
                      <a:gd name="connsiteY25" fmla="*/ 152400 h 2286004"/>
                      <a:gd name="connsiteX26" fmla="*/ 2133600 w 2286000"/>
                      <a:gd name="connsiteY26" fmla="*/ 228600 h 228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6000" h="2286004">
                        <a:moveTo>
                          <a:pt x="2057400" y="0"/>
                        </a:moveTo>
                        <a:lnTo>
                          <a:pt x="228600" y="0"/>
                        </a:lnTo>
                        <a:cubicBezTo>
                          <a:pt x="102348" y="0"/>
                          <a:pt x="0" y="102348"/>
                          <a:pt x="0" y="228600"/>
                        </a:cubicBezTo>
                        <a:lnTo>
                          <a:pt x="0" y="1447800"/>
                        </a:lnTo>
                        <a:cubicBezTo>
                          <a:pt x="0" y="1574052"/>
                          <a:pt x="102348" y="1676400"/>
                          <a:pt x="228600" y="1676400"/>
                        </a:cubicBezTo>
                        <a:lnTo>
                          <a:pt x="647700" y="1676400"/>
                        </a:lnTo>
                        <a:lnTo>
                          <a:pt x="1082040" y="2255520"/>
                        </a:lnTo>
                        <a:cubicBezTo>
                          <a:pt x="1107291" y="2289187"/>
                          <a:pt x="1155053" y="2296011"/>
                          <a:pt x="1188720" y="2270760"/>
                        </a:cubicBezTo>
                        <a:cubicBezTo>
                          <a:pt x="1194497" y="2266428"/>
                          <a:pt x="1199628" y="2261296"/>
                          <a:pt x="1203960" y="2255520"/>
                        </a:cubicBezTo>
                        <a:lnTo>
                          <a:pt x="1638300" y="1676400"/>
                        </a:lnTo>
                        <a:lnTo>
                          <a:pt x="2057400" y="1676400"/>
                        </a:lnTo>
                        <a:cubicBezTo>
                          <a:pt x="2183652" y="1676400"/>
                          <a:pt x="2286000" y="1574052"/>
                          <a:pt x="2286000" y="1447800"/>
                        </a:cubicBezTo>
                        <a:lnTo>
                          <a:pt x="2286000" y="228600"/>
                        </a:lnTo>
                        <a:cubicBezTo>
                          <a:pt x="2286000" y="102348"/>
                          <a:pt x="2183652" y="0"/>
                          <a:pt x="2057400" y="0"/>
                        </a:cubicBezTo>
                        <a:close/>
                        <a:moveTo>
                          <a:pt x="2133600" y="1447800"/>
                        </a:moveTo>
                        <a:cubicBezTo>
                          <a:pt x="2133600" y="1489884"/>
                          <a:pt x="2099484" y="1524000"/>
                          <a:pt x="2057400" y="1524000"/>
                        </a:cubicBezTo>
                        <a:lnTo>
                          <a:pt x="1600200" y="1524000"/>
                        </a:lnTo>
                        <a:cubicBezTo>
                          <a:pt x="1576099" y="1523495"/>
                          <a:pt x="1553297" y="1534896"/>
                          <a:pt x="1539240" y="1554480"/>
                        </a:cubicBezTo>
                        <a:lnTo>
                          <a:pt x="1143000" y="2083308"/>
                        </a:lnTo>
                        <a:lnTo>
                          <a:pt x="746760" y="1554480"/>
                        </a:lnTo>
                        <a:cubicBezTo>
                          <a:pt x="732703" y="1534896"/>
                          <a:pt x="709901" y="1523495"/>
                          <a:pt x="685800" y="1524000"/>
                        </a:cubicBezTo>
                        <a:lnTo>
                          <a:pt x="228600" y="1524000"/>
                        </a:lnTo>
                        <a:cubicBezTo>
                          <a:pt x="186516" y="1524000"/>
                          <a:pt x="152400" y="1489884"/>
                          <a:pt x="152400" y="1447800"/>
                        </a:cubicBezTo>
                        <a:lnTo>
                          <a:pt x="152400" y="228600"/>
                        </a:lnTo>
                        <a:cubicBezTo>
                          <a:pt x="152400" y="186516"/>
                          <a:pt x="186516" y="152400"/>
                          <a:pt x="228600" y="152400"/>
                        </a:cubicBezTo>
                        <a:lnTo>
                          <a:pt x="2057400" y="152400"/>
                        </a:lnTo>
                        <a:cubicBezTo>
                          <a:pt x="2099484" y="152400"/>
                          <a:pt x="2133600" y="186516"/>
                          <a:pt x="2133600" y="228600"/>
                        </a:cubicBezTo>
                        <a:close/>
                      </a:path>
                    </a:pathLst>
                  </a:custGeom>
                  <a:solidFill>
                    <a:schemeClr val="accent2"/>
                  </a:solidFill>
                  <a:ln w="3175" cap="flat">
                    <a:solidFill>
                      <a:schemeClr val="accent4"/>
                    </a:solidFill>
                    <a:prstDash val="solid"/>
                    <a:miter/>
                  </a:ln>
                </p:spPr>
                <p:txBody>
                  <a:bodyPr rtlCol="0" anchor="ctr"/>
                  <a:lstStyle/>
                  <a:p>
                    <a:pPr algn="l" defTabSz="802000" rtl="0">
                      <a:defRPr/>
                    </a:pPr>
                    <a:endParaRPr lang="en-AU" sz="789" kern="1200">
                      <a:solidFill>
                        <a:prstClr val="black"/>
                      </a:solidFill>
                      <a:latin typeface="Arial" panose="020B0604020202020204"/>
                      <a:ea typeface="+mn-ea"/>
                      <a:cs typeface="+mn-cs"/>
                    </a:endParaRPr>
                  </a:p>
                </p:txBody>
              </p:sp>
            </p:grpSp>
          </p:grpSp>
          <p:cxnSp>
            <p:nvCxnSpPr>
              <p:cNvPr id="220" name="Straight Connector 219">
                <a:extLst>
                  <a:ext uri="{FF2B5EF4-FFF2-40B4-BE49-F238E27FC236}">
                    <a16:creationId xmlns:a16="http://schemas.microsoft.com/office/drawing/2014/main" id="{A52F24A5-A8D5-EABA-EC30-2DDC54061D5C}"/>
                  </a:ext>
                </a:extLst>
              </p:cNvPr>
              <p:cNvCxnSpPr>
                <a:cxnSpLocks/>
              </p:cNvCxnSpPr>
              <p:nvPr/>
            </p:nvCxnSpPr>
            <p:spPr>
              <a:xfrm>
                <a:off x="1742406" y="4454069"/>
                <a:ext cx="44379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21" name="Rectangle: Rounded Corners 220">
                <a:extLst>
                  <a:ext uri="{FF2B5EF4-FFF2-40B4-BE49-F238E27FC236}">
                    <a16:creationId xmlns:a16="http://schemas.microsoft.com/office/drawing/2014/main" id="{A15D5993-7201-D8AB-C62D-73F77874C4B5}"/>
                  </a:ext>
                </a:extLst>
              </p:cNvPr>
              <p:cNvSpPr>
                <a:spLocks/>
              </p:cNvSpPr>
              <p:nvPr/>
            </p:nvSpPr>
            <p:spPr>
              <a:xfrm>
                <a:off x="2192287" y="3733738"/>
                <a:ext cx="586773" cy="1435733"/>
              </a:xfrm>
              <a:prstGeom prst="roundRect">
                <a:avLst>
                  <a:gd name="adj" fmla="val 6991"/>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02011" rtl="0">
                  <a:defRPr/>
                </a:pPr>
                <a:endParaRPr lang="en-AU" sz="789" kern="1200">
                  <a:solidFill>
                    <a:prstClr val="black"/>
                  </a:solidFill>
                  <a:latin typeface="Arial" panose="020B0604020202020204"/>
                </a:endParaRPr>
              </a:p>
            </p:txBody>
          </p:sp>
          <p:cxnSp>
            <p:nvCxnSpPr>
              <p:cNvPr id="222" name="Straight Connector 221">
                <a:extLst>
                  <a:ext uri="{FF2B5EF4-FFF2-40B4-BE49-F238E27FC236}">
                    <a16:creationId xmlns:a16="http://schemas.microsoft.com/office/drawing/2014/main" id="{E6896257-B4E7-72A7-1BE0-BF7DD3B666D3}"/>
                  </a:ext>
                </a:extLst>
              </p:cNvPr>
              <p:cNvCxnSpPr>
                <a:cxnSpLocks/>
              </p:cNvCxnSpPr>
              <p:nvPr/>
            </p:nvCxnSpPr>
            <p:spPr>
              <a:xfrm>
                <a:off x="2777644" y="4461217"/>
                <a:ext cx="71110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4A2222A-3F70-A342-CB3A-EB737AE50030}"/>
                  </a:ext>
                </a:extLst>
              </p:cNvPr>
              <p:cNvCxnSpPr>
                <a:cxnSpLocks/>
              </p:cNvCxnSpPr>
              <p:nvPr/>
            </p:nvCxnSpPr>
            <p:spPr>
              <a:xfrm>
                <a:off x="3292551" y="3621725"/>
                <a:ext cx="5601" cy="168321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364542BF-75E2-574E-09D5-891FEB57F38C}"/>
                  </a:ext>
                </a:extLst>
              </p:cNvPr>
              <p:cNvCxnSpPr>
                <a:cxnSpLocks/>
              </p:cNvCxnSpPr>
              <p:nvPr/>
            </p:nvCxnSpPr>
            <p:spPr>
              <a:xfrm>
                <a:off x="3292550" y="3625014"/>
                <a:ext cx="22424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DB929F48-973B-C8B9-0440-D5DF3F103EF3}"/>
                  </a:ext>
                </a:extLst>
              </p:cNvPr>
              <p:cNvCxnSpPr>
                <a:cxnSpLocks/>
              </p:cNvCxnSpPr>
              <p:nvPr/>
            </p:nvCxnSpPr>
            <p:spPr>
              <a:xfrm>
                <a:off x="3292550" y="5305571"/>
                <a:ext cx="22424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7" name="Straight Connector 16">
            <a:extLst>
              <a:ext uri="{FF2B5EF4-FFF2-40B4-BE49-F238E27FC236}">
                <a16:creationId xmlns:a16="http://schemas.microsoft.com/office/drawing/2014/main" id="{99726C23-48F5-E6C4-FD45-AE54CD395B5A}"/>
              </a:ext>
            </a:extLst>
          </p:cNvPr>
          <p:cNvCxnSpPr>
            <a:cxnSpLocks/>
          </p:cNvCxnSpPr>
          <p:nvPr/>
        </p:nvCxnSpPr>
        <p:spPr>
          <a:xfrm>
            <a:off x="664471" y="1797050"/>
            <a:ext cx="385321"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142B23CA-DB5E-6FC4-DC39-42A431855533}"/>
              </a:ext>
            </a:extLst>
          </p:cNvPr>
          <p:cNvSpPr txBox="1">
            <a:spLocks/>
          </p:cNvSpPr>
          <p:nvPr/>
        </p:nvSpPr>
        <p:spPr>
          <a:xfrm>
            <a:off x="537431" y="1003318"/>
            <a:ext cx="9426344" cy="432491"/>
          </a:xfrm>
          <a:prstGeom prst="rect">
            <a:avLst/>
          </a:prstGeom>
        </p:spPr>
        <p:txBody>
          <a:bodyPr/>
          <a:lstStyle>
            <a:lvl1pPr algn="l" defTabSz="802020" rtl="0" eaLnBrk="1" latinLnBrk="0" hangingPunct="1">
              <a:lnSpc>
                <a:spcPct val="90000"/>
              </a:lnSpc>
              <a:spcBef>
                <a:spcPct val="0"/>
              </a:spcBef>
              <a:buNone/>
              <a:defRPr sz="2456" b="0" kern="1200" spc="0" baseline="0">
                <a:solidFill>
                  <a:schemeClr val="bg1"/>
                </a:solidFill>
                <a:latin typeface="+mj-lt"/>
                <a:ea typeface="+mj-ea"/>
                <a:cs typeface="+mj-cs"/>
              </a:defRPr>
            </a:lvl1pPr>
          </a:lstStyle>
          <a:p>
            <a:r>
              <a:rPr lang="en-AU" sz="2800" b="1" dirty="0"/>
              <a:t>Become the Architect of the Ecosystem</a:t>
            </a:r>
          </a:p>
        </p:txBody>
      </p:sp>
      <p:sp>
        <p:nvSpPr>
          <p:cNvPr id="24" name="Arrow: Right 23">
            <a:extLst>
              <a:ext uri="{FF2B5EF4-FFF2-40B4-BE49-F238E27FC236}">
                <a16:creationId xmlns:a16="http://schemas.microsoft.com/office/drawing/2014/main" id="{244DDF34-4F13-2609-2EB8-2DAE68A3F366}"/>
              </a:ext>
            </a:extLst>
          </p:cNvPr>
          <p:cNvSpPr/>
          <p:nvPr/>
        </p:nvSpPr>
        <p:spPr>
          <a:xfrm>
            <a:off x="4546482" y="2792914"/>
            <a:ext cx="778528" cy="318897"/>
          </a:xfrm>
          <a:prstGeom prst="rightArrow">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98939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0-#ppt_w/2"/>
                                          </p:val>
                                        </p:tav>
                                        <p:tav tm="100000">
                                          <p:val>
                                            <p:strVal val="#ppt_x"/>
                                          </p:val>
                                        </p:tav>
                                      </p:tavLst>
                                    </p:anim>
                                    <p:anim calcmode="lin" valueType="num">
                                      <p:cBhvr additive="base">
                                        <p:cTn id="12"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E75F6EBD-61ED-8025-4B90-DCF65D270496}"/>
              </a:ext>
            </a:extLst>
          </p:cNvPr>
          <p:cNvSpPr/>
          <p:nvPr/>
        </p:nvSpPr>
        <p:spPr>
          <a:xfrm>
            <a:off x="3595440" y="4255934"/>
            <a:ext cx="700465" cy="700465"/>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AU" sz="1579" kern="1200">
              <a:solidFill>
                <a:prstClr val="white"/>
              </a:solidFill>
              <a:latin typeface="Arial" panose="020B0604020202020204"/>
            </a:endParaRPr>
          </a:p>
        </p:txBody>
      </p:sp>
      <p:sp>
        <p:nvSpPr>
          <p:cNvPr id="15" name="Oval 14">
            <a:extLst>
              <a:ext uri="{FF2B5EF4-FFF2-40B4-BE49-F238E27FC236}">
                <a16:creationId xmlns:a16="http://schemas.microsoft.com/office/drawing/2014/main" id="{917CE1A9-A26A-0EF1-E205-65AD2057BFED}"/>
              </a:ext>
            </a:extLst>
          </p:cNvPr>
          <p:cNvSpPr/>
          <p:nvPr/>
        </p:nvSpPr>
        <p:spPr>
          <a:xfrm>
            <a:off x="3595440" y="2237109"/>
            <a:ext cx="700465" cy="700465"/>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AU" sz="1579" kern="1200">
              <a:solidFill>
                <a:prstClr val="white"/>
              </a:solidFill>
              <a:latin typeface="Arial" panose="020B0604020202020204"/>
            </a:endParaRPr>
          </a:p>
        </p:txBody>
      </p:sp>
      <p:sp>
        <p:nvSpPr>
          <p:cNvPr id="10" name="Oval 9">
            <a:extLst>
              <a:ext uri="{FF2B5EF4-FFF2-40B4-BE49-F238E27FC236}">
                <a16:creationId xmlns:a16="http://schemas.microsoft.com/office/drawing/2014/main" id="{3B05AEF6-3CB4-FB47-2162-49F20A7D1BD6}"/>
              </a:ext>
            </a:extLst>
          </p:cNvPr>
          <p:cNvSpPr/>
          <p:nvPr/>
        </p:nvSpPr>
        <p:spPr>
          <a:xfrm>
            <a:off x="384326" y="4255934"/>
            <a:ext cx="700465" cy="700465"/>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AU" sz="1579" kern="1200">
              <a:solidFill>
                <a:prstClr val="white"/>
              </a:solidFill>
              <a:latin typeface="Arial" panose="020B0604020202020204"/>
            </a:endParaRPr>
          </a:p>
        </p:txBody>
      </p:sp>
      <p:sp>
        <p:nvSpPr>
          <p:cNvPr id="13" name="Oval 12">
            <a:extLst>
              <a:ext uri="{FF2B5EF4-FFF2-40B4-BE49-F238E27FC236}">
                <a16:creationId xmlns:a16="http://schemas.microsoft.com/office/drawing/2014/main" id="{80FF7E78-D67A-E6F9-118D-BFE8F286F1C3}"/>
              </a:ext>
            </a:extLst>
          </p:cNvPr>
          <p:cNvSpPr/>
          <p:nvPr/>
        </p:nvSpPr>
        <p:spPr>
          <a:xfrm>
            <a:off x="384326" y="2237109"/>
            <a:ext cx="700465" cy="700465"/>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802020" rtl="0">
              <a:defRPr/>
            </a:pPr>
            <a:endParaRPr lang="en-AU" sz="1579" kern="1200">
              <a:solidFill>
                <a:prstClr val="white"/>
              </a:solidFill>
              <a:latin typeface="Arial" panose="020B0604020202020204"/>
            </a:endParaRPr>
          </a:p>
        </p:txBody>
      </p:sp>
      <p:pic>
        <p:nvPicPr>
          <p:cNvPr id="2" name="Graphic 1">
            <a:extLst>
              <a:ext uri="{FF2B5EF4-FFF2-40B4-BE49-F238E27FC236}">
                <a16:creationId xmlns:a16="http://schemas.microsoft.com/office/drawing/2014/main" id="{56C8FB8B-5992-1AA7-578F-A3C02D2C9C4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35924" r="-378" b="47883"/>
          <a:stretch/>
        </p:blipFill>
        <p:spPr>
          <a:xfrm rot="10800000">
            <a:off x="6379414" y="560990"/>
            <a:ext cx="4176785" cy="3785200"/>
          </a:xfrm>
          <a:prstGeom prst="rect">
            <a:avLst/>
          </a:prstGeom>
        </p:spPr>
      </p:pic>
      <p:sp>
        <p:nvSpPr>
          <p:cNvPr id="83" name="Freeform: Shape 82" hidden="1">
            <a:extLst>
              <a:ext uri="{FF2B5EF4-FFF2-40B4-BE49-F238E27FC236}">
                <a16:creationId xmlns:a16="http://schemas.microsoft.com/office/drawing/2014/main" id="{90A91819-467A-EE35-EAEE-7E7F092988F6}"/>
              </a:ext>
            </a:extLst>
          </p:cNvPr>
          <p:cNvSpPr/>
          <p:nvPr/>
        </p:nvSpPr>
        <p:spPr>
          <a:xfrm rot="6507934">
            <a:off x="7586937" y="3921918"/>
            <a:ext cx="2399808" cy="4124566"/>
          </a:xfrm>
          <a:custGeom>
            <a:avLst/>
            <a:gdLst>
              <a:gd name="connsiteX0" fmla="*/ 1041562 w 2736123"/>
              <a:gd name="connsiteY0" fmla="*/ 3742159 h 4702593"/>
              <a:gd name="connsiteX1" fmla="*/ 881514 w 2736123"/>
              <a:gd name="connsiteY1" fmla="*/ 3187575 h 4702593"/>
              <a:gd name="connsiteX2" fmla="*/ 797532 w 2736123"/>
              <a:gd name="connsiteY2" fmla="*/ 2834215 h 4702593"/>
              <a:gd name="connsiteX3" fmla="*/ 50090 w 2736123"/>
              <a:gd name="connsiteY3" fmla="*/ 617871 h 4702593"/>
              <a:gd name="connsiteX4" fmla="*/ 0 w 2736123"/>
              <a:gd name="connsiteY4" fmla="*/ 516388 h 4702593"/>
              <a:gd name="connsiteX5" fmla="*/ 1546409 w 2736123"/>
              <a:gd name="connsiteY5" fmla="*/ 0 h 4702593"/>
              <a:gd name="connsiteX6" fmla="*/ 2736123 w 2736123"/>
              <a:gd name="connsiteY6" fmla="*/ 3562794 h 4702593"/>
              <a:gd name="connsiteX7" fmla="*/ 2660633 w 2736123"/>
              <a:gd name="connsiteY7" fmla="*/ 3686400 h 4702593"/>
              <a:gd name="connsiteX8" fmla="*/ 2211026 w 2736123"/>
              <a:gd name="connsiteY8" fmla="*/ 4244256 h 4702593"/>
              <a:gd name="connsiteX9" fmla="*/ 1665253 w 2736123"/>
              <a:gd name="connsiteY9" fmla="*/ 4702593 h 4702593"/>
              <a:gd name="connsiteX10" fmla="*/ 1248851 w 2736123"/>
              <a:gd name="connsiteY10" fmla="*/ 4202265 h 4702593"/>
              <a:gd name="connsiteX11" fmla="*/ 1041562 w 2736123"/>
              <a:gd name="connsiteY11" fmla="*/ 3742159 h 47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6123" h="4702593">
                <a:moveTo>
                  <a:pt x="1041562" y="3742159"/>
                </a:moveTo>
                <a:cubicBezTo>
                  <a:pt x="980337" y="3573332"/>
                  <a:pt x="926986" y="3388758"/>
                  <a:pt x="881514" y="3187575"/>
                </a:cubicBezTo>
                <a:cubicBezTo>
                  <a:pt x="853501" y="3072127"/>
                  <a:pt x="825488" y="2960188"/>
                  <a:pt x="797532" y="2834215"/>
                </a:cubicBezTo>
                <a:cubicBezTo>
                  <a:pt x="589769" y="1985762"/>
                  <a:pt x="343763" y="1252107"/>
                  <a:pt x="50090" y="617871"/>
                </a:cubicBezTo>
                <a:lnTo>
                  <a:pt x="0" y="516388"/>
                </a:lnTo>
                <a:lnTo>
                  <a:pt x="1546409" y="0"/>
                </a:lnTo>
                <a:lnTo>
                  <a:pt x="2736123" y="3562794"/>
                </a:lnTo>
                <a:lnTo>
                  <a:pt x="2660633" y="3686400"/>
                </a:lnTo>
                <a:cubicBezTo>
                  <a:pt x="2497298" y="3940095"/>
                  <a:pt x="2338958" y="4120709"/>
                  <a:pt x="2211026" y="4244256"/>
                </a:cubicBezTo>
                <a:cubicBezTo>
                  <a:pt x="2039609" y="4412220"/>
                  <a:pt x="1857665" y="4569658"/>
                  <a:pt x="1665253" y="4702593"/>
                </a:cubicBezTo>
                <a:cubicBezTo>
                  <a:pt x="1511267" y="4583637"/>
                  <a:pt x="1367807" y="4412220"/>
                  <a:pt x="1248851" y="4202265"/>
                </a:cubicBezTo>
                <a:cubicBezTo>
                  <a:pt x="1171886" y="4064068"/>
                  <a:pt x="1102787" y="3910986"/>
                  <a:pt x="1041562" y="3742159"/>
                </a:cubicBezTo>
                <a:close/>
              </a:path>
            </a:pathLst>
          </a:custGeom>
          <a:solidFill>
            <a:srgbClr val="2D4588"/>
          </a:solidFill>
          <a:ln w="6244" cap="flat">
            <a:noFill/>
            <a:prstDash val="solid"/>
            <a:miter/>
          </a:ln>
        </p:spPr>
        <p:txBody>
          <a:bodyPr rtlCol="0" anchor="ctr"/>
          <a:lstStyle/>
          <a:p>
            <a:pPr algn="l" defTabSz="802020" rtl="0">
              <a:defRPr/>
            </a:pPr>
            <a:endParaRPr lang="en-AU" sz="1579" kern="1200">
              <a:solidFill>
                <a:prstClr val="black"/>
              </a:solidFill>
              <a:latin typeface="Verdana" panose="020B0604030504040204" pitchFamily="34" charset="0"/>
              <a:ea typeface="+mn-ea"/>
              <a:cs typeface="+mn-cs"/>
            </a:endParaRPr>
          </a:p>
        </p:txBody>
      </p:sp>
      <p:sp>
        <p:nvSpPr>
          <p:cNvPr id="4" name="TextBox 3">
            <a:extLst>
              <a:ext uri="{FF2B5EF4-FFF2-40B4-BE49-F238E27FC236}">
                <a16:creationId xmlns:a16="http://schemas.microsoft.com/office/drawing/2014/main" id="{54E960BC-CD50-0314-1D31-912791E0F734}"/>
              </a:ext>
            </a:extLst>
          </p:cNvPr>
          <p:cNvSpPr txBox="1"/>
          <p:nvPr/>
        </p:nvSpPr>
        <p:spPr>
          <a:xfrm>
            <a:off x="566260" y="1180511"/>
            <a:ext cx="5839837" cy="481094"/>
          </a:xfrm>
          <a:prstGeom prst="rect">
            <a:avLst/>
          </a:prstGeom>
          <a:noFill/>
        </p:spPr>
        <p:txBody>
          <a:bodyPr wrap="square" rtlCol="0">
            <a:spAutoFit/>
          </a:bodyPr>
          <a:lstStyle/>
          <a:p>
            <a:pPr algn="l" defTabSz="802020" rtl="0">
              <a:lnSpc>
                <a:spcPct val="90000"/>
              </a:lnSpc>
              <a:defRPr/>
            </a:pPr>
            <a:r>
              <a:rPr lang="en-US" sz="2807" b="1" kern="1200" spc="-44" dirty="0">
                <a:solidFill>
                  <a:prstClr val="white"/>
                </a:solidFill>
                <a:latin typeface="Arial" panose="020B0604020202020204"/>
                <a:ea typeface="+mn-ea"/>
                <a:cs typeface="+mn-cs"/>
              </a:rPr>
              <a:t>Protect and Grow </a:t>
            </a:r>
          </a:p>
        </p:txBody>
      </p:sp>
      <p:grpSp>
        <p:nvGrpSpPr>
          <p:cNvPr id="77" name="Group 76">
            <a:extLst>
              <a:ext uri="{FF2B5EF4-FFF2-40B4-BE49-F238E27FC236}">
                <a16:creationId xmlns:a16="http://schemas.microsoft.com/office/drawing/2014/main" id="{CE5D5772-5783-7313-EF01-F13AE2952A36}"/>
              </a:ext>
            </a:extLst>
          </p:cNvPr>
          <p:cNvGrpSpPr/>
          <p:nvPr/>
        </p:nvGrpSpPr>
        <p:grpSpPr>
          <a:xfrm>
            <a:off x="317500" y="3020794"/>
            <a:ext cx="2570647" cy="965782"/>
            <a:chOff x="645617" y="2717949"/>
            <a:chExt cx="2930904" cy="1101130"/>
          </a:xfrm>
        </p:grpSpPr>
        <p:sp>
          <p:nvSpPr>
            <p:cNvPr id="3" name="TextBox 2">
              <a:extLst>
                <a:ext uri="{FF2B5EF4-FFF2-40B4-BE49-F238E27FC236}">
                  <a16:creationId xmlns:a16="http://schemas.microsoft.com/office/drawing/2014/main" id="{3488FCC1-EF0F-D381-CA59-7F9D61C518AD}"/>
                </a:ext>
              </a:extLst>
            </p:cNvPr>
            <p:cNvSpPr txBox="1"/>
            <p:nvPr/>
          </p:nvSpPr>
          <p:spPr>
            <a:xfrm>
              <a:off x="657599" y="2717949"/>
              <a:ext cx="2174610" cy="351422"/>
            </a:xfrm>
            <a:prstGeom prst="rect">
              <a:avLst/>
            </a:prstGeom>
            <a:noFill/>
          </p:spPr>
          <p:txBody>
            <a:bodyPr wrap="square" rtlCol="0">
              <a:spAutoFit/>
            </a:bodyPr>
            <a:lstStyle/>
            <a:p>
              <a:pPr algn="l" defTabSz="802020" rtl="0">
                <a:defRPr/>
              </a:pPr>
              <a:r>
                <a:rPr lang="en-US" sz="1403" b="1" kern="1200">
                  <a:solidFill>
                    <a:srgbClr val="FFBE37"/>
                  </a:solidFill>
                  <a:latin typeface="Arial" panose="020B0604020202020204"/>
                  <a:ea typeface="+mn-ea"/>
                  <a:cs typeface="+mn-cs"/>
                </a:rPr>
                <a:t>Collaboration</a:t>
              </a:r>
            </a:p>
          </p:txBody>
        </p:sp>
        <p:sp>
          <p:nvSpPr>
            <p:cNvPr id="12" name="TextBox 11">
              <a:extLst>
                <a:ext uri="{FF2B5EF4-FFF2-40B4-BE49-F238E27FC236}">
                  <a16:creationId xmlns:a16="http://schemas.microsoft.com/office/drawing/2014/main" id="{75776ECD-295F-669F-898C-710E56CED2CE}"/>
                </a:ext>
              </a:extLst>
            </p:cNvPr>
            <p:cNvSpPr txBox="1"/>
            <p:nvPr/>
          </p:nvSpPr>
          <p:spPr>
            <a:xfrm>
              <a:off x="645617" y="3067475"/>
              <a:ext cx="2930904" cy="751604"/>
            </a:xfrm>
            <a:prstGeom prst="rect">
              <a:avLst/>
            </a:prstGeom>
            <a:noFill/>
          </p:spPr>
          <p:txBody>
            <a:bodyPr wrap="square" rtlCol="0">
              <a:spAutoFit/>
            </a:bodyPr>
            <a:lstStyle/>
            <a:p>
              <a:pPr algn="l" defTabSz="802020" rtl="0">
                <a:defRPr/>
              </a:pPr>
              <a:r>
                <a:rPr lang="en-US" sz="1228" kern="1200">
                  <a:solidFill>
                    <a:prstClr val="white"/>
                  </a:solidFill>
                  <a:latin typeface="Arial" panose="020B0604020202020204"/>
                  <a:ea typeface="+mn-ea"/>
                  <a:cs typeface="+mn-cs"/>
                </a:rPr>
                <a:t>Securely collaborate with other finance professionals</a:t>
              </a:r>
              <a:br>
                <a:rPr lang="en-US" sz="1228" kern="1200">
                  <a:solidFill>
                    <a:prstClr val="white"/>
                  </a:solidFill>
                  <a:latin typeface="Arial" panose="020B0604020202020204"/>
                  <a:ea typeface="+mn-ea"/>
                  <a:cs typeface="+mn-cs"/>
                </a:rPr>
              </a:br>
              <a:r>
                <a:rPr lang="en-US" sz="1228" kern="1200">
                  <a:solidFill>
                    <a:prstClr val="white"/>
                  </a:solidFill>
                  <a:latin typeface="Arial" panose="020B0604020202020204"/>
                  <a:ea typeface="+mn-ea"/>
                  <a:cs typeface="+mn-cs"/>
                </a:rPr>
                <a:t>to achieve any client goal.</a:t>
              </a:r>
            </a:p>
          </p:txBody>
        </p:sp>
      </p:grpSp>
      <p:grpSp>
        <p:nvGrpSpPr>
          <p:cNvPr id="78" name="Group 77">
            <a:extLst>
              <a:ext uri="{FF2B5EF4-FFF2-40B4-BE49-F238E27FC236}">
                <a16:creationId xmlns:a16="http://schemas.microsoft.com/office/drawing/2014/main" id="{0CEAE05A-50EB-2BD9-D177-E7611EB16E2E}"/>
              </a:ext>
            </a:extLst>
          </p:cNvPr>
          <p:cNvGrpSpPr/>
          <p:nvPr/>
        </p:nvGrpSpPr>
        <p:grpSpPr>
          <a:xfrm>
            <a:off x="317500" y="5035502"/>
            <a:ext cx="2978666" cy="983806"/>
            <a:chOff x="645617" y="4773278"/>
            <a:chExt cx="3396104" cy="1121680"/>
          </a:xfrm>
        </p:grpSpPr>
        <p:sp>
          <p:nvSpPr>
            <p:cNvPr id="50" name="TextBox 49">
              <a:extLst>
                <a:ext uri="{FF2B5EF4-FFF2-40B4-BE49-F238E27FC236}">
                  <a16:creationId xmlns:a16="http://schemas.microsoft.com/office/drawing/2014/main" id="{BB04D4F8-252A-77DE-3A93-B742B287BB80}"/>
                </a:ext>
              </a:extLst>
            </p:cNvPr>
            <p:cNvSpPr txBox="1"/>
            <p:nvPr/>
          </p:nvSpPr>
          <p:spPr>
            <a:xfrm>
              <a:off x="657598" y="4773278"/>
              <a:ext cx="3384123" cy="351422"/>
            </a:xfrm>
            <a:prstGeom prst="rect">
              <a:avLst/>
            </a:prstGeom>
            <a:noFill/>
          </p:spPr>
          <p:txBody>
            <a:bodyPr wrap="square" rtlCol="0">
              <a:spAutoFit/>
            </a:bodyPr>
            <a:lstStyle/>
            <a:p>
              <a:pPr algn="l" defTabSz="802020" rtl="0">
                <a:defRPr/>
              </a:pPr>
              <a:r>
                <a:rPr lang="en-US" sz="1403" b="1" kern="1200">
                  <a:solidFill>
                    <a:srgbClr val="FFBE37"/>
                  </a:solidFill>
                  <a:latin typeface="Arial" panose="020B0604020202020204"/>
                  <a:ea typeface="+mn-ea"/>
                  <a:cs typeface="+mn-cs"/>
                </a:rPr>
                <a:t>A secure environment</a:t>
              </a:r>
            </a:p>
          </p:txBody>
        </p:sp>
        <p:sp>
          <p:nvSpPr>
            <p:cNvPr id="52" name="TextBox 51">
              <a:extLst>
                <a:ext uri="{FF2B5EF4-FFF2-40B4-BE49-F238E27FC236}">
                  <a16:creationId xmlns:a16="http://schemas.microsoft.com/office/drawing/2014/main" id="{0C4BB0B6-11AB-2775-5FF9-D56212963BB4}"/>
                </a:ext>
              </a:extLst>
            </p:cNvPr>
            <p:cNvSpPr txBox="1"/>
            <p:nvPr/>
          </p:nvSpPr>
          <p:spPr>
            <a:xfrm>
              <a:off x="645617" y="5143354"/>
              <a:ext cx="2898662" cy="751604"/>
            </a:xfrm>
            <a:prstGeom prst="rect">
              <a:avLst/>
            </a:prstGeom>
            <a:noFill/>
          </p:spPr>
          <p:txBody>
            <a:bodyPr wrap="square" rtlCol="0">
              <a:spAutoFit/>
            </a:bodyPr>
            <a:lstStyle/>
            <a:p>
              <a:pPr algn="l" defTabSz="802020" rtl="0">
                <a:defRPr/>
              </a:pPr>
              <a:r>
                <a:rPr lang="en-US" sz="1228" kern="1200">
                  <a:solidFill>
                    <a:prstClr val="white"/>
                  </a:solidFill>
                  <a:latin typeface="Arial" panose="020B0604020202020204"/>
                  <a:ea typeface="+mn-ea"/>
                  <a:cs typeface="+mn-cs"/>
                </a:rPr>
                <a:t>Eliminate reliance on email when interacting with your clients and their data online.</a:t>
              </a:r>
            </a:p>
          </p:txBody>
        </p:sp>
      </p:grpSp>
      <p:grpSp>
        <p:nvGrpSpPr>
          <p:cNvPr id="80" name="Group 79">
            <a:extLst>
              <a:ext uri="{FF2B5EF4-FFF2-40B4-BE49-F238E27FC236}">
                <a16:creationId xmlns:a16="http://schemas.microsoft.com/office/drawing/2014/main" id="{82F9A055-2CFB-2E80-719C-127DBB05A730}"/>
              </a:ext>
            </a:extLst>
          </p:cNvPr>
          <p:cNvGrpSpPr/>
          <p:nvPr/>
        </p:nvGrpSpPr>
        <p:grpSpPr>
          <a:xfrm>
            <a:off x="3524070" y="3020794"/>
            <a:ext cx="2570646" cy="950540"/>
            <a:chOff x="8928142" y="2676773"/>
            <a:chExt cx="2930903" cy="1083752"/>
          </a:xfrm>
        </p:grpSpPr>
        <p:sp>
          <p:nvSpPr>
            <p:cNvPr id="53" name="TextBox 52">
              <a:extLst>
                <a:ext uri="{FF2B5EF4-FFF2-40B4-BE49-F238E27FC236}">
                  <a16:creationId xmlns:a16="http://schemas.microsoft.com/office/drawing/2014/main" id="{8C9F9A85-31E8-099E-6339-C830627EF131}"/>
                </a:ext>
              </a:extLst>
            </p:cNvPr>
            <p:cNvSpPr txBox="1"/>
            <p:nvPr/>
          </p:nvSpPr>
          <p:spPr>
            <a:xfrm>
              <a:off x="8928143" y="2676773"/>
              <a:ext cx="2174610" cy="351422"/>
            </a:xfrm>
            <a:prstGeom prst="rect">
              <a:avLst/>
            </a:prstGeom>
            <a:noFill/>
          </p:spPr>
          <p:txBody>
            <a:bodyPr wrap="square" rtlCol="0">
              <a:spAutoFit/>
            </a:bodyPr>
            <a:lstStyle/>
            <a:p>
              <a:pPr algn="l" defTabSz="802020" rtl="0">
                <a:defRPr/>
              </a:pPr>
              <a:r>
                <a:rPr lang="en-US" sz="1403" b="1" kern="1200">
                  <a:solidFill>
                    <a:srgbClr val="FFBE37"/>
                  </a:solidFill>
                  <a:latin typeface="Arial" panose="020B0604020202020204"/>
                  <a:ea typeface="+mn-ea"/>
                  <a:cs typeface="+mn-cs"/>
                </a:rPr>
                <a:t>Drive efficiencies</a:t>
              </a:r>
            </a:p>
          </p:txBody>
        </p:sp>
        <p:sp>
          <p:nvSpPr>
            <p:cNvPr id="55" name="TextBox 54">
              <a:extLst>
                <a:ext uri="{FF2B5EF4-FFF2-40B4-BE49-F238E27FC236}">
                  <a16:creationId xmlns:a16="http://schemas.microsoft.com/office/drawing/2014/main" id="{BBD97CC4-61FA-45EC-C4EC-DAC126EDFF75}"/>
                </a:ext>
              </a:extLst>
            </p:cNvPr>
            <p:cNvSpPr txBox="1"/>
            <p:nvPr/>
          </p:nvSpPr>
          <p:spPr>
            <a:xfrm>
              <a:off x="8928142" y="3008921"/>
              <a:ext cx="2930903" cy="751604"/>
            </a:xfrm>
            <a:prstGeom prst="rect">
              <a:avLst/>
            </a:prstGeom>
            <a:noFill/>
          </p:spPr>
          <p:txBody>
            <a:bodyPr wrap="square" rtlCol="0">
              <a:spAutoFit/>
            </a:bodyPr>
            <a:lstStyle/>
            <a:p>
              <a:pPr algn="l" defTabSz="802020" rtl="0">
                <a:defRPr/>
              </a:pPr>
              <a:r>
                <a:rPr lang="en-US" sz="1228" kern="1200">
                  <a:solidFill>
                    <a:prstClr val="white"/>
                  </a:solidFill>
                  <a:latin typeface="Arial" panose="020B0604020202020204"/>
                  <a:ea typeface="+mn-ea"/>
                  <a:cs typeface="+mn-cs"/>
                </a:rPr>
                <a:t>Integration with digital signature capabilities, digital fact finds and questionnaires.</a:t>
              </a:r>
            </a:p>
          </p:txBody>
        </p:sp>
      </p:grpSp>
      <p:grpSp>
        <p:nvGrpSpPr>
          <p:cNvPr id="79" name="Group 78">
            <a:extLst>
              <a:ext uri="{FF2B5EF4-FFF2-40B4-BE49-F238E27FC236}">
                <a16:creationId xmlns:a16="http://schemas.microsoft.com/office/drawing/2014/main" id="{D51502F8-13F1-B1B5-2484-781AADA38517}"/>
              </a:ext>
            </a:extLst>
          </p:cNvPr>
          <p:cNvGrpSpPr/>
          <p:nvPr/>
        </p:nvGrpSpPr>
        <p:grpSpPr>
          <a:xfrm>
            <a:off x="3772830" y="5035502"/>
            <a:ext cx="3554225" cy="983806"/>
            <a:chOff x="8928142" y="4773278"/>
            <a:chExt cx="4977625" cy="1121680"/>
          </a:xfrm>
        </p:grpSpPr>
        <p:sp>
          <p:nvSpPr>
            <p:cNvPr id="56" name="TextBox 55">
              <a:extLst>
                <a:ext uri="{FF2B5EF4-FFF2-40B4-BE49-F238E27FC236}">
                  <a16:creationId xmlns:a16="http://schemas.microsoft.com/office/drawing/2014/main" id="{6CD65B36-9753-D88A-BA3A-801AD1C42878}"/>
                </a:ext>
              </a:extLst>
            </p:cNvPr>
            <p:cNvSpPr txBox="1"/>
            <p:nvPr/>
          </p:nvSpPr>
          <p:spPr>
            <a:xfrm>
              <a:off x="8928142" y="4773278"/>
              <a:ext cx="4977625" cy="351422"/>
            </a:xfrm>
            <a:prstGeom prst="rect">
              <a:avLst/>
            </a:prstGeom>
            <a:noFill/>
          </p:spPr>
          <p:txBody>
            <a:bodyPr wrap="square" rtlCol="0">
              <a:spAutoFit/>
            </a:bodyPr>
            <a:lstStyle/>
            <a:p>
              <a:pPr algn="l" defTabSz="802020" rtl="0">
                <a:defRPr/>
              </a:pPr>
              <a:r>
                <a:rPr lang="en-US" sz="1403" b="1" kern="1200">
                  <a:solidFill>
                    <a:srgbClr val="FFBE37"/>
                  </a:solidFill>
                  <a:latin typeface="Arial" panose="020B0604020202020204"/>
                  <a:ea typeface="+mn-ea"/>
                  <a:cs typeface="+mn-cs"/>
                </a:rPr>
                <a:t>Connected, branded experiences</a:t>
              </a:r>
            </a:p>
          </p:txBody>
        </p:sp>
        <p:sp>
          <p:nvSpPr>
            <p:cNvPr id="58" name="TextBox 57">
              <a:extLst>
                <a:ext uri="{FF2B5EF4-FFF2-40B4-BE49-F238E27FC236}">
                  <a16:creationId xmlns:a16="http://schemas.microsoft.com/office/drawing/2014/main" id="{FFF213E2-28BA-BABE-38E5-E0FCC5ABD288}"/>
                </a:ext>
              </a:extLst>
            </p:cNvPr>
            <p:cNvSpPr txBox="1"/>
            <p:nvPr/>
          </p:nvSpPr>
          <p:spPr>
            <a:xfrm>
              <a:off x="8928143" y="5143354"/>
              <a:ext cx="3908550" cy="751604"/>
            </a:xfrm>
            <a:prstGeom prst="rect">
              <a:avLst/>
            </a:prstGeom>
            <a:noFill/>
          </p:spPr>
          <p:txBody>
            <a:bodyPr wrap="square" rtlCol="0">
              <a:spAutoFit/>
            </a:bodyPr>
            <a:lstStyle/>
            <a:p>
              <a:pPr algn="l" defTabSz="802020" rtl="0">
                <a:defRPr/>
              </a:pPr>
              <a:r>
                <a:rPr lang="en-US" sz="1228" kern="1200">
                  <a:solidFill>
                    <a:prstClr val="white"/>
                  </a:solidFill>
                  <a:latin typeface="Arial" panose="020B0604020202020204"/>
                  <a:ea typeface="+mn-ea"/>
                  <a:cs typeface="+mn-cs"/>
                </a:rPr>
                <a:t>Data integrations reduce double handling of data​ and deliver clients a whole of wealth view.</a:t>
              </a:r>
            </a:p>
          </p:txBody>
        </p:sp>
      </p:grpSp>
      <p:pic>
        <p:nvPicPr>
          <p:cNvPr id="5" name="Graphic 4">
            <a:extLst>
              <a:ext uri="{FF2B5EF4-FFF2-40B4-BE49-F238E27FC236}">
                <a16:creationId xmlns:a16="http://schemas.microsoft.com/office/drawing/2014/main" id="{022043B4-6269-14AC-6594-23535ED8CC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3744" y="2324846"/>
            <a:ext cx="507061" cy="507061"/>
          </a:xfrm>
          <a:prstGeom prst="rect">
            <a:avLst/>
          </a:prstGeom>
        </p:spPr>
      </p:pic>
      <p:pic>
        <p:nvPicPr>
          <p:cNvPr id="7" name="Graphic 6">
            <a:extLst>
              <a:ext uri="{FF2B5EF4-FFF2-40B4-BE49-F238E27FC236}">
                <a16:creationId xmlns:a16="http://schemas.microsoft.com/office/drawing/2014/main" id="{7CE00FB1-EF91-7388-0E5E-539A82EFFB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8627" y="4426453"/>
            <a:ext cx="375821" cy="375821"/>
          </a:xfrm>
          <a:prstGeom prst="rect">
            <a:avLst/>
          </a:prstGeom>
        </p:spPr>
      </p:pic>
      <p:pic>
        <p:nvPicPr>
          <p:cNvPr id="9" name="Graphic 8">
            <a:extLst>
              <a:ext uri="{FF2B5EF4-FFF2-40B4-BE49-F238E27FC236}">
                <a16:creationId xmlns:a16="http://schemas.microsoft.com/office/drawing/2014/main" id="{9B15B058-1BB9-E796-D049-3A202A4B384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42803" y="4415688"/>
            <a:ext cx="404793" cy="404793"/>
          </a:xfrm>
          <a:prstGeom prst="rect">
            <a:avLst/>
          </a:prstGeom>
        </p:spPr>
      </p:pic>
      <p:pic>
        <p:nvPicPr>
          <p:cNvPr id="11" name="Graphic 10">
            <a:extLst>
              <a:ext uri="{FF2B5EF4-FFF2-40B4-BE49-F238E27FC236}">
                <a16:creationId xmlns:a16="http://schemas.microsoft.com/office/drawing/2014/main" id="{4C0359F0-55DC-764D-DAD4-1104834E206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04549" y="2346155"/>
            <a:ext cx="443047" cy="443047"/>
          </a:xfrm>
          <a:prstGeom prst="rect">
            <a:avLst/>
          </a:prstGeom>
        </p:spPr>
      </p:pic>
      <p:pic>
        <p:nvPicPr>
          <p:cNvPr id="8" name="Graphic 7">
            <a:extLst>
              <a:ext uri="{FF2B5EF4-FFF2-40B4-BE49-F238E27FC236}">
                <a16:creationId xmlns:a16="http://schemas.microsoft.com/office/drawing/2014/main" id="{03D91999-EBA7-3575-012E-1729FFD60C6E}"/>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rcRect l="3" t="-1" r="73506" b="75689"/>
          <a:stretch/>
        </p:blipFill>
        <p:spPr>
          <a:xfrm rot="10800000" flipV="1">
            <a:off x="8637511" y="4337004"/>
            <a:ext cx="1880353" cy="1933949"/>
          </a:xfrm>
          <a:prstGeom prst="rect">
            <a:avLst/>
          </a:prstGeom>
        </p:spPr>
      </p:pic>
      <p:cxnSp>
        <p:nvCxnSpPr>
          <p:cNvPr id="16" name="Straight Connector 15">
            <a:extLst>
              <a:ext uri="{FF2B5EF4-FFF2-40B4-BE49-F238E27FC236}">
                <a16:creationId xmlns:a16="http://schemas.microsoft.com/office/drawing/2014/main" id="{425D1859-DB24-0206-62CD-0413ED6028EB}"/>
              </a:ext>
            </a:extLst>
          </p:cNvPr>
          <p:cNvCxnSpPr>
            <a:cxnSpLocks/>
          </p:cNvCxnSpPr>
          <p:nvPr/>
        </p:nvCxnSpPr>
        <p:spPr>
          <a:xfrm>
            <a:off x="385267" y="1861325"/>
            <a:ext cx="385321"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7" name="Picture 16" descr="A screenshot of a phone&#10;&#10;AI-generated content may be incorrect.">
            <a:extLst>
              <a:ext uri="{FF2B5EF4-FFF2-40B4-BE49-F238E27FC236}">
                <a16:creationId xmlns:a16="http://schemas.microsoft.com/office/drawing/2014/main" id="{97D5DD38-2C41-DCA9-4724-9A407904068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897945" y="0"/>
            <a:ext cx="3477955" cy="7535570"/>
          </a:xfrm>
          <a:prstGeom prst="rect">
            <a:avLst/>
          </a:prstGeom>
        </p:spPr>
      </p:pic>
    </p:spTree>
    <p:extLst>
      <p:ext uri="{BB962C8B-B14F-4D97-AF65-F5344CB8AC3E}">
        <p14:creationId xmlns:p14="http://schemas.microsoft.com/office/powerpoint/2010/main" val="175867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CDE02-7AB5-DE05-B6C5-395E52DC7D83}"/>
              </a:ext>
            </a:extLst>
          </p:cNvPr>
          <p:cNvSpPr>
            <a:spLocks noGrp="1"/>
          </p:cNvSpPr>
          <p:nvPr>
            <p:ph type="title"/>
          </p:nvPr>
        </p:nvSpPr>
        <p:spPr/>
        <p:txBody>
          <a:bodyPr/>
          <a:lstStyle/>
          <a:p>
            <a:r>
              <a:rPr lang="en-AU" dirty="0"/>
              <a:t>The Architect view </a:t>
            </a:r>
          </a:p>
        </p:txBody>
      </p:sp>
      <p:pic>
        <p:nvPicPr>
          <p:cNvPr id="3074" name="Picture 2">
            <a:extLst>
              <a:ext uri="{FF2B5EF4-FFF2-40B4-BE49-F238E27FC236}">
                <a16:creationId xmlns:a16="http://schemas.microsoft.com/office/drawing/2014/main" id="{7027F845-18B7-CE73-ADDA-0FF03CFCE59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74700" y="1416050"/>
            <a:ext cx="8776205" cy="5421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18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0CA74-F862-1562-F725-BED204750F14}"/>
              </a:ext>
            </a:extLst>
          </p:cNvPr>
          <p:cNvSpPr>
            <a:spLocks noGrp="1"/>
          </p:cNvSpPr>
          <p:nvPr>
            <p:ph type="title"/>
          </p:nvPr>
        </p:nvSpPr>
        <p:spPr/>
        <p:txBody>
          <a:bodyPr/>
          <a:lstStyle/>
          <a:p>
            <a:r>
              <a:rPr lang="en-AU" dirty="0"/>
              <a:t>The Client view</a:t>
            </a:r>
          </a:p>
        </p:txBody>
      </p:sp>
      <p:pic>
        <p:nvPicPr>
          <p:cNvPr id="1026" name="Picture 2">
            <a:extLst>
              <a:ext uri="{FF2B5EF4-FFF2-40B4-BE49-F238E27FC236}">
                <a16:creationId xmlns:a16="http://schemas.microsoft.com/office/drawing/2014/main" id="{128AD298-E352-8EC5-29D7-3B1EA0392BD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7500" y="1568450"/>
            <a:ext cx="9962430" cy="510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6457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770731"/>
            <a:ext cx="10693400" cy="6015038"/>
            <a:chOff x="0" y="0"/>
            <a:chExt cx="12192000" cy="6858000"/>
          </a:xfrm>
        </p:grpSpPr>
        <p:sp>
          <p:nvSpPr>
            <p:cNvPr id="3" name="object 3"/>
            <p:cNvSpPr/>
            <p:nvPr/>
          </p:nvSpPr>
          <p:spPr>
            <a:xfrm>
              <a:off x="0" y="6274447"/>
              <a:ext cx="12192000" cy="583565"/>
            </a:xfrm>
            <a:custGeom>
              <a:avLst/>
              <a:gdLst/>
              <a:ahLst/>
              <a:cxnLst/>
              <a:rect l="l" t="t" r="r" b="b"/>
              <a:pathLst>
                <a:path w="12192000" h="583565">
                  <a:moveTo>
                    <a:pt x="12192000" y="0"/>
                  </a:moveTo>
                  <a:lnTo>
                    <a:pt x="0" y="0"/>
                  </a:lnTo>
                  <a:lnTo>
                    <a:pt x="0" y="583552"/>
                  </a:lnTo>
                  <a:lnTo>
                    <a:pt x="12192000" y="583552"/>
                  </a:lnTo>
                  <a:lnTo>
                    <a:pt x="12192000" y="0"/>
                  </a:lnTo>
                  <a:close/>
                </a:path>
              </a:pathLst>
            </a:custGeom>
            <a:solidFill>
              <a:srgbClr val="293B8A"/>
            </a:solidFill>
          </p:spPr>
          <p:txBody>
            <a:bodyPr wrap="square" lIns="0" tIns="0" rIns="0" bIns="0" rtlCol="0"/>
            <a:lstStyle/>
            <a:p>
              <a:pPr algn="l" defTabSz="802020" rtl="0">
                <a:defRPr/>
              </a:pPr>
              <a:endParaRPr sz="1579">
                <a:latin typeface="Calibri"/>
                <a:ea typeface="+mn-ea"/>
                <a:cs typeface="+mn-cs"/>
              </a:endParaRPr>
            </a:p>
          </p:txBody>
        </p:sp>
        <p:pic>
          <p:nvPicPr>
            <p:cNvPr id="4" name="object 4"/>
            <p:cNvPicPr/>
            <p:nvPr/>
          </p:nvPicPr>
          <p:blipFill>
            <a:blip r:embed="rId2" cstate="print"/>
            <a:stretch>
              <a:fillRect/>
            </a:stretch>
          </p:blipFill>
          <p:spPr>
            <a:xfrm>
              <a:off x="1213764" y="6491338"/>
              <a:ext cx="124053" cy="84518"/>
            </a:xfrm>
            <a:prstGeom prst="rect">
              <a:avLst/>
            </a:prstGeom>
          </p:spPr>
        </p:pic>
        <p:pic>
          <p:nvPicPr>
            <p:cNvPr id="5" name="object 5"/>
            <p:cNvPicPr/>
            <p:nvPr/>
          </p:nvPicPr>
          <p:blipFill>
            <a:blip r:embed="rId3" cstate="print"/>
            <a:stretch>
              <a:fillRect/>
            </a:stretch>
          </p:blipFill>
          <p:spPr>
            <a:xfrm>
              <a:off x="894448" y="6491909"/>
              <a:ext cx="128079" cy="164706"/>
            </a:xfrm>
            <a:prstGeom prst="rect">
              <a:avLst/>
            </a:prstGeom>
          </p:spPr>
        </p:pic>
        <p:sp>
          <p:nvSpPr>
            <p:cNvPr id="6" name="object 6"/>
            <p:cNvSpPr/>
            <p:nvPr/>
          </p:nvSpPr>
          <p:spPr>
            <a:xfrm>
              <a:off x="727722" y="6491909"/>
              <a:ext cx="34925" cy="161925"/>
            </a:xfrm>
            <a:custGeom>
              <a:avLst/>
              <a:gdLst/>
              <a:ahLst/>
              <a:cxnLst/>
              <a:rect l="l" t="t" r="r" b="b"/>
              <a:pathLst>
                <a:path w="34925" h="161925">
                  <a:moveTo>
                    <a:pt x="34899" y="111683"/>
                  </a:moveTo>
                  <a:lnTo>
                    <a:pt x="33896" y="110197"/>
                  </a:lnTo>
                  <a:lnTo>
                    <a:pt x="1485" y="110197"/>
                  </a:lnTo>
                  <a:lnTo>
                    <a:pt x="0" y="111683"/>
                  </a:lnTo>
                  <a:lnTo>
                    <a:pt x="0" y="112687"/>
                  </a:lnTo>
                  <a:lnTo>
                    <a:pt x="0" y="160553"/>
                  </a:lnTo>
                  <a:lnTo>
                    <a:pt x="1485" y="161531"/>
                  </a:lnTo>
                  <a:lnTo>
                    <a:pt x="33896" y="161531"/>
                  </a:lnTo>
                  <a:lnTo>
                    <a:pt x="34899" y="160553"/>
                  </a:lnTo>
                  <a:lnTo>
                    <a:pt x="34899" y="111683"/>
                  </a:lnTo>
                  <a:close/>
                </a:path>
                <a:path w="34925" h="161925">
                  <a:moveTo>
                    <a:pt x="34899" y="990"/>
                  </a:moveTo>
                  <a:lnTo>
                    <a:pt x="33896" y="0"/>
                  </a:lnTo>
                  <a:lnTo>
                    <a:pt x="1485" y="0"/>
                  </a:lnTo>
                  <a:lnTo>
                    <a:pt x="0" y="990"/>
                  </a:lnTo>
                  <a:lnTo>
                    <a:pt x="0" y="2489"/>
                  </a:lnTo>
                  <a:lnTo>
                    <a:pt x="0" y="49771"/>
                  </a:lnTo>
                  <a:lnTo>
                    <a:pt x="1485" y="50774"/>
                  </a:lnTo>
                  <a:lnTo>
                    <a:pt x="33896" y="50774"/>
                  </a:lnTo>
                  <a:lnTo>
                    <a:pt x="34899" y="49771"/>
                  </a:lnTo>
                  <a:lnTo>
                    <a:pt x="34899" y="990"/>
                  </a:lnTo>
                  <a:close/>
                </a:path>
              </a:pathLst>
            </a:custGeom>
            <a:solidFill>
              <a:srgbClr val="FFFFFF"/>
            </a:solidFill>
          </p:spPr>
          <p:txBody>
            <a:bodyPr wrap="square" lIns="0" tIns="0" rIns="0" bIns="0" rtlCol="0"/>
            <a:lstStyle/>
            <a:p>
              <a:pPr algn="l" defTabSz="802020" rtl="0">
                <a:defRPr/>
              </a:pPr>
              <a:endParaRPr sz="1579">
                <a:latin typeface="Calibri"/>
                <a:ea typeface="+mn-ea"/>
                <a:cs typeface="+mn-cs"/>
              </a:endParaRPr>
            </a:p>
          </p:txBody>
        </p:sp>
        <p:pic>
          <p:nvPicPr>
            <p:cNvPr id="7" name="object 7"/>
            <p:cNvPicPr/>
            <p:nvPr/>
          </p:nvPicPr>
          <p:blipFill>
            <a:blip r:embed="rId4" cstate="print"/>
            <a:stretch>
              <a:fillRect/>
            </a:stretch>
          </p:blipFill>
          <p:spPr>
            <a:xfrm>
              <a:off x="726897" y="6491223"/>
              <a:ext cx="125666" cy="161734"/>
            </a:xfrm>
            <a:prstGeom prst="rect">
              <a:avLst/>
            </a:prstGeom>
          </p:spPr>
        </p:pic>
        <p:pic>
          <p:nvPicPr>
            <p:cNvPr id="8" name="object 8"/>
            <p:cNvPicPr/>
            <p:nvPr/>
          </p:nvPicPr>
          <p:blipFill>
            <a:blip r:embed="rId5" cstate="print"/>
            <a:stretch>
              <a:fillRect/>
            </a:stretch>
          </p:blipFill>
          <p:spPr>
            <a:xfrm>
              <a:off x="1063523" y="6526896"/>
              <a:ext cx="34975" cy="126937"/>
            </a:xfrm>
            <a:prstGeom prst="rect">
              <a:avLst/>
            </a:prstGeom>
          </p:spPr>
        </p:pic>
        <p:pic>
          <p:nvPicPr>
            <p:cNvPr id="9" name="object 9"/>
            <p:cNvPicPr/>
            <p:nvPr/>
          </p:nvPicPr>
          <p:blipFill>
            <a:blip r:embed="rId6" cstate="print"/>
            <a:stretch>
              <a:fillRect/>
            </a:stretch>
          </p:blipFill>
          <p:spPr>
            <a:xfrm>
              <a:off x="1056678" y="6483515"/>
              <a:ext cx="128498" cy="170599"/>
            </a:xfrm>
            <a:prstGeom prst="rect">
              <a:avLst/>
            </a:prstGeom>
          </p:spPr>
        </p:pic>
        <p:sp>
          <p:nvSpPr>
            <p:cNvPr id="10" name="object 10"/>
            <p:cNvSpPr/>
            <p:nvPr/>
          </p:nvSpPr>
          <p:spPr>
            <a:xfrm>
              <a:off x="4430140" y="0"/>
              <a:ext cx="7762240" cy="6290945"/>
            </a:xfrm>
            <a:custGeom>
              <a:avLst/>
              <a:gdLst/>
              <a:ahLst/>
              <a:cxnLst/>
              <a:rect l="l" t="t" r="r" b="b"/>
              <a:pathLst>
                <a:path w="7762240" h="6290945">
                  <a:moveTo>
                    <a:pt x="7761859" y="0"/>
                  </a:moveTo>
                  <a:lnTo>
                    <a:pt x="0" y="0"/>
                  </a:lnTo>
                  <a:lnTo>
                    <a:pt x="0" y="6290437"/>
                  </a:lnTo>
                  <a:lnTo>
                    <a:pt x="7761859" y="6290437"/>
                  </a:lnTo>
                  <a:lnTo>
                    <a:pt x="7761859" y="0"/>
                  </a:lnTo>
                  <a:close/>
                </a:path>
              </a:pathLst>
            </a:custGeom>
            <a:solidFill>
              <a:srgbClr val="1F2C68"/>
            </a:solidFill>
          </p:spPr>
          <p:txBody>
            <a:bodyPr wrap="square" lIns="0" tIns="0" rIns="0" bIns="0" rtlCol="0"/>
            <a:lstStyle/>
            <a:p>
              <a:pPr algn="l" defTabSz="802020" rtl="0">
                <a:defRPr/>
              </a:pPr>
              <a:endParaRPr sz="1579">
                <a:latin typeface="Calibri"/>
                <a:ea typeface="+mn-ea"/>
                <a:cs typeface="+mn-cs"/>
              </a:endParaRPr>
            </a:p>
          </p:txBody>
        </p:sp>
        <p:sp>
          <p:nvSpPr>
            <p:cNvPr id="11" name="object 11"/>
            <p:cNvSpPr/>
            <p:nvPr/>
          </p:nvSpPr>
          <p:spPr>
            <a:xfrm>
              <a:off x="593318" y="2186558"/>
              <a:ext cx="501015" cy="0"/>
            </a:xfrm>
            <a:custGeom>
              <a:avLst/>
              <a:gdLst/>
              <a:ahLst/>
              <a:cxnLst/>
              <a:rect l="l" t="t" r="r" b="b"/>
              <a:pathLst>
                <a:path w="501015">
                  <a:moveTo>
                    <a:pt x="0" y="0"/>
                  </a:moveTo>
                  <a:lnTo>
                    <a:pt x="500557" y="0"/>
                  </a:lnTo>
                </a:path>
              </a:pathLst>
            </a:custGeom>
            <a:ln w="50800">
              <a:solidFill>
                <a:srgbClr val="FFBD37"/>
              </a:solidFill>
            </a:ln>
          </p:spPr>
          <p:txBody>
            <a:bodyPr wrap="square" lIns="0" tIns="0" rIns="0" bIns="0" rtlCol="0"/>
            <a:lstStyle/>
            <a:p>
              <a:pPr algn="l" defTabSz="802020" rtl="0">
                <a:defRPr/>
              </a:pPr>
              <a:endParaRPr sz="1579">
                <a:latin typeface="Calibri"/>
                <a:ea typeface="+mn-ea"/>
                <a:cs typeface="+mn-cs"/>
              </a:endParaRPr>
            </a:p>
          </p:txBody>
        </p:sp>
      </p:grpSp>
      <p:sp>
        <p:nvSpPr>
          <p:cNvPr id="12" name="object 12"/>
          <p:cNvSpPr txBox="1">
            <a:spLocks noGrp="1"/>
          </p:cNvSpPr>
          <p:nvPr>
            <p:ph type="title"/>
          </p:nvPr>
        </p:nvSpPr>
        <p:spPr>
          <a:xfrm>
            <a:off x="506652" y="806155"/>
            <a:ext cx="3249791" cy="1068838"/>
          </a:xfrm>
          <a:prstGeom prst="rect">
            <a:avLst/>
          </a:prstGeom>
        </p:spPr>
        <p:txBody>
          <a:bodyPr vert="horz" wrap="square" lIns="0" tIns="47898" rIns="0" bIns="0" rtlCol="0">
            <a:spAutoFit/>
          </a:bodyPr>
          <a:lstStyle/>
          <a:p>
            <a:pPr marL="11139" marR="4456">
              <a:lnSpc>
                <a:spcPct val="90000"/>
              </a:lnSpc>
              <a:spcBef>
                <a:spcPts val="377"/>
              </a:spcBef>
            </a:pPr>
            <a:r>
              <a:rPr lang="en-AU" sz="2456" dirty="0">
                <a:solidFill>
                  <a:srgbClr val="1F2C68"/>
                </a:solidFill>
              </a:rPr>
              <a:t>HUB24 - l</a:t>
            </a:r>
            <a:r>
              <a:rPr sz="2456" dirty="0" err="1">
                <a:solidFill>
                  <a:srgbClr val="1F2C68"/>
                </a:solidFill>
              </a:rPr>
              <a:t>everaging</a:t>
            </a:r>
            <a:r>
              <a:rPr sz="2456" spc="-79" dirty="0">
                <a:solidFill>
                  <a:srgbClr val="1F2C68"/>
                </a:solidFill>
              </a:rPr>
              <a:t> </a:t>
            </a:r>
            <a:r>
              <a:rPr sz="2456" spc="-9" dirty="0">
                <a:solidFill>
                  <a:srgbClr val="1F2C68"/>
                </a:solidFill>
              </a:rPr>
              <a:t>capabilities </a:t>
            </a:r>
            <a:r>
              <a:rPr sz="2456" dirty="0">
                <a:solidFill>
                  <a:srgbClr val="1F2C68"/>
                </a:solidFill>
              </a:rPr>
              <a:t>to</a:t>
            </a:r>
            <a:r>
              <a:rPr sz="2456" spc="-57" dirty="0">
                <a:solidFill>
                  <a:srgbClr val="1F2C68"/>
                </a:solidFill>
              </a:rPr>
              <a:t> </a:t>
            </a:r>
            <a:r>
              <a:rPr sz="2456" dirty="0">
                <a:solidFill>
                  <a:srgbClr val="1F2C68"/>
                </a:solidFill>
              </a:rPr>
              <a:t>lead</a:t>
            </a:r>
            <a:r>
              <a:rPr sz="2456" spc="-39" dirty="0">
                <a:solidFill>
                  <a:srgbClr val="1F2C68"/>
                </a:solidFill>
              </a:rPr>
              <a:t> </a:t>
            </a:r>
            <a:r>
              <a:rPr sz="2456" dirty="0">
                <a:solidFill>
                  <a:srgbClr val="1F2C68"/>
                </a:solidFill>
              </a:rPr>
              <a:t>industry</a:t>
            </a:r>
            <a:r>
              <a:rPr sz="2456" spc="-53" dirty="0">
                <a:solidFill>
                  <a:srgbClr val="1F2C68"/>
                </a:solidFill>
              </a:rPr>
              <a:t> </a:t>
            </a:r>
            <a:r>
              <a:rPr sz="2456" spc="-9" dirty="0">
                <a:solidFill>
                  <a:srgbClr val="1F2C68"/>
                </a:solidFill>
              </a:rPr>
              <a:t>change</a:t>
            </a:r>
            <a:endParaRPr sz="2456" dirty="0"/>
          </a:p>
        </p:txBody>
      </p:sp>
      <p:sp>
        <p:nvSpPr>
          <p:cNvPr id="13" name="object 13"/>
          <p:cNvSpPr txBox="1"/>
          <p:nvPr/>
        </p:nvSpPr>
        <p:spPr>
          <a:xfrm>
            <a:off x="1151211" y="3003823"/>
            <a:ext cx="2248399" cy="506783"/>
          </a:xfrm>
          <a:prstGeom prst="rect">
            <a:avLst/>
          </a:prstGeom>
        </p:spPr>
        <p:txBody>
          <a:bodyPr vert="horz" wrap="square" lIns="0" tIns="90783" rIns="0" bIns="0" rtlCol="0">
            <a:spAutoFit/>
          </a:bodyPr>
          <a:lstStyle/>
          <a:p>
            <a:pPr marL="11139" algn="l" defTabSz="802020" rtl="0">
              <a:spcBef>
                <a:spcPts val="715"/>
              </a:spcBef>
              <a:defRPr/>
            </a:pPr>
            <a:r>
              <a:rPr sz="1228" b="1">
                <a:solidFill>
                  <a:srgbClr val="0099C7"/>
                </a:solidFill>
                <a:latin typeface="Arial"/>
                <a:ea typeface="+mn-ea"/>
                <a:cs typeface="Arial"/>
              </a:rPr>
              <a:t>Lead</a:t>
            </a:r>
            <a:r>
              <a:rPr sz="1228" b="1" spc="-31">
                <a:solidFill>
                  <a:srgbClr val="0099C7"/>
                </a:solidFill>
                <a:latin typeface="Arial"/>
                <a:ea typeface="+mn-ea"/>
                <a:cs typeface="Arial"/>
              </a:rPr>
              <a:t> </a:t>
            </a:r>
            <a:r>
              <a:rPr sz="1228" b="1" spc="-9">
                <a:solidFill>
                  <a:srgbClr val="0099C7"/>
                </a:solidFill>
                <a:latin typeface="Arial"/>
                <a:ea typeface="+mn-ea"/>
                <a:cs typeface="Arial"/>
              </a:rPr>
              <a:t>today</a:t>
            </a:r>
            <a:endParaRPr sz="1228">
              <a:latin typeface="Arial"/>
              <a:ea typeface="+mn-ea"/>
              <a:cs typeface="Arial"/>
            </a:endParaRPr>
          </a:p>
          <a:p>
            <a:pPr marL="11139" algn="l" defTabSz="802020" rtl="0">
              <a:spcBef>
                <a:spcPts val="531"/>
              </a:spcBef>
              <a:defRPr/>
            </a:pPr>
            <a:r>
              <a:rPr sz="1053">
                <a:solidFill>
                  <a:srgbClr val="1F2D69"/>
                </a:solidFill>
                <a:latin typeface="Arial"/>
                <a:ea typeface="+mn-ea"/>
                <a:cs typeface="Arial"/>
              </a:rPr>
              <a:t>Delivering</a:t>
            </a:r>
            <a:r>
              <a:rPr sz="1053" spc="-35">
                <a:solidFill>
                  <a:srgbClr val="1F2D69"/>
                </a:solidFill>
                <a:latin typeface="Arial"/>
                <a:ea typeface="+mn-ea"/>
                <a:cs typeface="Arial"/>
              </a:rPr>
              <a:t> </a:t>
            </a:r>
            <a:r>
              <a:rPr sz="1053">
                <a:solidFill>
                  <a:srgbClr val="1F2D69"/>
                </a:solidFill>
                <a:latin typeface="Arial"/>
                <a:ea typeface="+mn-ea"/>
                <a:cs typeface="Arial"/>
              </a:rPr>
              <a:t>customer</a:t>
            </a:r>
            <a:r>
              <a:rPr sz="1053" spc="-53">
                <a:solidFill>
                  <a:srgbClr val="1F2D69"/>
                </a:solidFill>
                <a:latin typeface="Arial"/>
                <a:ea typeface="+mn-ea"/>
                <a:cs typeface="Arial"/>
              </a:rPr>
              <a:t> </a:t>
            </a:r>
            <a:r>
              <a:rPr sz="1053">
                <a:solidFill>
                  <a:srgbClr val="1F2D69"/>
                </a:solidFill>
                <a:latin typeface="Arial"/>
                <a:ea typeface="+mn-ea"/>
                <a:cs typeface="Arial"/>
              </a:rPr>
              <a:t>value</a:t>
            </a:r>
            <a:r>
              <a:rPr sz="1053" spc="-22">
                <a:solidFill>
                  <a:srgbClr val="1F2D69"/>
                </a:solidFill>
                <a:latin typeface="Arial"/>
                <a:ea typeface="+mn-ea"/>
                <a:cs typeface="Arial"/>
              </a:rPr>
              <a:t> </a:t>
            </a:r>
            <a:r>
              <a:rPr sz="1053">
                <a:solidFill>
                  <a:srgbClr val="1F2D69"/>
                </a:solidFill>
                <a:latin typeface="Arial"/>
                <a:ea typeface="+mn-ea"/>
                <a:cs typeface="Arial"/>
              </a:rPr>
              <a:t>and</a:t>
            </a:r>
            <a:r>
              <a:rPr sz="1053" spc="-31">
                <a:solidFill>
                  <a:srgbClr val="1F2D69"/>
                </a:solidFill>
                <a:latin typeface="Arial"/>
                <a:ea typeface="+mn-ea"/>
                <a:cs typeface="Arial"/>
              </a:rPr>
              <a:t> </a:t>
            </a:r>
            <a:r>
              <a:rPr sz="1053" spc="-9">
                <a:solidFill>
                  <a:srgbClr val="1F2D69"/>
                </a:solidFill>
                <a:latin typeface="Arial"/>
                <a:ea typeface="+mn-ea"/>
                <a:cs typeface="Arial"/>
              </a:rPr>
              <a:t>growth</a:t>
            </a:r>
            <a:endParaRPr sz="1053">
              <a:latin typeface="Arial"/>
              <a:ea typeface="+mn-ea"/>
              <a:cs typeface="Arial"/>
            </a:endParaRPr>
          </a:p>
        </p:txBody>
      </p:sp>
      <p:sp>
        <p:nvSpPr>
          <p:cNvPr id="14" name="object 14"/>
          <p:cNvSpPr txBox="1"/>
          <p:nvPr/>
        </p:nvSpPr>
        <p:spPr>
          <a:xfrm>
            <a:off x="1151211" y="3618693"/>
            <a:ext cx="2259538" cy="668815"/>
          </a:xfrm>
          <a:prstGeom prst="rect">
            <a:avLst/>
          </a:prstGeom>
        </p:spPr>
        <p:txBody>
          <a:bodyPr vert="horz" wrap="square" lIns="0" tIns="90783" rIns="0" bIns="0" rtlCol="0">
            <a:spAutoFit/>
          </a:bodyPr>
          <a:lstStyle/>
          <a:p>
            <a:pPr marL="11139" algn="l" defTabSz="802020" rtl="0">
              <a:spcBef>
                <a:spcPts val="715"/>
              </a:spcBef>
              <a:defRPr/>
            </a:pPr>
            <a:r>
              <a:rPr sz="1228" b="1">
                <a:solidFill>
                  <a:srgbClr val="0099C7"/>
                </a:solidFill>
                <a:latin typeface="Arial"/>
                <a:ea typeface="+mn-ea"/>
                <a:cs typeface="Arial"/>
              </a:rPr>
              <a:t>Create</a:t>
            </a:r>
            <a:r>
              <a:rPr sz="1228" b="1" spc="-48">
                <a:solidFill>
                  <a:srgbClr val="0099C7"/>
                </a:solidFill>
                <a:latin typeface="Arial"/>
                <a:ea typeface="+mn-ea"/>
                <a:cs typeface="Arial"/>
              </a:rPr>
              <a:t> </a:t>
            </a:r>
            <a:r>
              <a:rPr sz="1228" b="1" spc="-9">
                <a:solidFill>
                  <a:srgbClr val="0099C7"/>
                </a:solidFill>
                <a:latin typeface="Arial"/>
                <a:ea typeface="+mn-ea"/>
                <a:cs typeface="Arial"/>
              </a:rPr>
              <a:t>tomorrow</a:t>
            </a:r>
            <a:endParaRPr sz="1228">
              <a:latin typeface="Arial"/>
              <a:ea typeface="+mn-ea"/>
              <a:cs typeface="Arial"/>
            </a:endParaRPr>
          </a:p>
          <a:p>
            <a:pPr marL="11139" marR="4456" algn="l" defTabSz="802020" rtl="0">
              <a:spcBef>
                <a:spcPts val="531"/>
              </a:spcBef>
              <a:defRPr/>
            </a:pPr>
            <a:r>
              <a:rPr sz="1053">
                <a:solidFill>
                  <a:srgbClr val="1F2D69"/>
                </a:solidFill>
                <a:latin typeface="Arial"/>
                <a:ea typeface="+mn-ea"/>
                <a:cs typeface="Arial"/>
              </a:rPr>
              <a:t>Creating</a:t>
            </a:r>
            <a:r>
              <a:rPr sz="1053" spc="-48">
                <a:solidFill>
                  <a:srgbClr val="1F2D69"/>
                </a:solidFill>
                <a:latin typeface="Arial"/>
                <a:ea typeface="+mn-ea"/>
                <a:cs typeface="Arial"/>
              </a:rPr>
              <a:t> </a:t>
            </a:r>
            <a:r>
              <a:rPr sz="1053">
                <a:solidFill>
                  <a:srgbClr val="1F2D69"/>
                </a:solidFill>
                <a:latin typeface="Arial"/>
                <a:ea typeface="+mn-ea"/>
                <a:cs typeface="Arial"/>
              </a:rPr>
              <a:t>integrated</a:t>
            </a:r>
            <a:r>
              <a:rPr sz="1053" spc="-44">
                <a:solidFill>
                  <a:srgbClr val="1F2D69"/>
                </a:solidFill>
                <a:latin typeface="Arial"/>
                <a:ea typeface="+mn-ea"/>
                <a:cs typeface="Arial"/>
              </a:rPr>
              <a:t> </a:t>
            </a:r>
            <a:r>
              <a:rPr sz="1053">
                <a:solidFill>
                  <a:srgbClr val="1F2D69"/>
                </a:solidFill>
                <a:latin typeface="Arial"/>
                <a:ea typeface="+mn-ea"/>
                <a:cs typeface="Arial"/>
              </a:rPr>
              <a:t>wealth</a:t>
            </a:r>
            <a:r>
              <a:rPr sz="1053" spc="-26">
                <a:solidFill>
                  <a:srgbClr val="1F2D69"/>
                </a:solidFill>
                <a:latin typeface="Arial"/>
                <a:ea typeface="+mn-ea"/>
                <a:cs typeface="Arial"/>
              </a:rPr>
              <a:t> </a:t>
            </a:r>
            <a:r>
              <a:rPr sz="1053" spc="-9">
                <a:solidFill>
                  <a:srgbClr val="1F2D69"/>
                </a:solidFill>
                <a:latin typeface="Arial"/>
                <a:ea typeface="+mn-ea"/>
                <a:cs typeface="Arial"/>
              </a:rPr>
              <a:t>technology </a:t>
            </a:r>
            <a:r>
              <a:rPr sz="1053">
                <a:solidFill>
                  <a:srgbClr val="1F2D69"/>
                </a:solidFill>
                <a:latin typeface="Arial"/>
                <a:ea typeface="+mn-ea"/>
                <a:cs typeface="Arial"/>
              </a:rPr>
              <a:t>and</a:t>
            </a:r>
            <a:r>
              <a:rPr sz="1053" spc="-31">
                <a:solidFill>
                  <a:srgbClr val="1F2D69"/>
                </a:solidFill>
                <a:latin typeface="Arial"/>
                <a:ea typeface="+mn-ea"/>
                <a:cs typeface="Arial"/>
              </a:rPr>
              <a:t> </a:t>
            </a:r>
            <a:r>
              <a:rPr sz="1053">
                <a:solidFill>
                  <a:srgbClr val="1F2D69"/>
                </a:solidFill>
                <a:latin typeface="Arial"/>
                <a:ea typeface="+mn-ea"/>
                <a:cs typeface="Arial"/>
              </a:rPr>
              <a:t>platform</a:t>
            </a:r>
            <a:r>
              <a:rPr sz="1053" spc="-35">
                <a:solidFill>
                  <a:srgbClr val="1F2D69"/>
                </a:solidFill>
                <a:latin typeface="Arial"/>
                <a:ea typeface="+mn-ea"/>
                <a:cs typeface="Arial"/>
              </a:rPr>
              <a:t> </a:t>
            </a:r>
            <a:r>
              <a:rPr sz="1053" spc="-9">
                <a:solidFill>
                  <a:srgbClr val="1F2D69"/>
                </a:solidFill>
                <a:latin typeface="Arial"/>
                <a:ea typeface="+mn-ea"/>
                <a:cs typeface="Arial"/>
              </a:rPr>
              <a:t>solutions</a:t>
            </a:r>
            <a:endParaRPr sz="1053">
              <a:latin typeface="Arial"/>
              <a:ea typeface="+mn-ea"/>
              <a:cs typeface="Arial"/>
            </a:endParaRPr>
          </a:p>
        </p:txBody>
      </p:sp>
      <p:sp>
        <p:nvSpPr>
          <p:cNvPr id="15" name="object 15"/>
          <p:cNvSpPr txBox="1"/>
          <p:nvPr/>
        </p:nvSpPr>
        <p:spPr>
          <a:xfrm>
            <a:off x="1151211" y="4394299"/>
            <a:ext cx="2103035" cy="668815"/>
          </a:xfrm>
          <a:prstGeom prst="rect">
            <a:avLst/>
          </a:prstGeom>
        </p:spPr>
        <p:txBody>
          <a:bodyPr vert="horz" wrap="square" lIns="0" tIns="90783" rIns="0" bIns="0" rtlCol="0">
            <a:spAutoFit/>
          </a:bodyPr>
          <a:lstStyle/>
          <a:p>
            <a:pPr marL="11139" algn="l" defTabSz="802020" rtl="0">
              <a:spcBef>
                <a:spcPts val="715"/>
              </a:spcBef>
              <a:defRPr/>
            </a:pPr>
            <a:r>
              <a:rPr sz="1228" b="1">
                <a:solidFill>
                  <a:srgbClr val="0099C7"/>
                </a:solidFill>
                <a:latin typeface="Arial"/>
                <a:ea typeface="+mn-ea"/>
                <a:cs typeface="Arial"/>
              </a:rPr>
              <a:t>Build</a:t>
            </a:r>
            <a:r>
              <a:rPr sz="1228" b="1" spc="-39">
                <a:solidFill>
                  <a:srgbClr val="0099C7"/>
                </a:solidFill>
                <a:latin typeface="Arial"/>
                <a:ea typeface="+mn-ea"/>
                <a:cs typeface="Arial"/>
              </a:rPr>
              <a:t> </a:t>
            </a:r>
            <a:r>
              <a:rPr sz="1228" b="1" spc="-9">
                <a:solidFill>
                  <a:srgbClr val="0099C7"/>
                </a:solidFill>
                <a:latin typeface="Arial"/>
                <a:ea typeface="+mn-ea"/>
                <a:cs typeface="Arial"/>
              </a:rPr>
              <a:t>together</a:t>
            </a:r>
            <a:endParaRPr sz="1228">
              <a:latin typeface="Arial"/>
              <a:ea typeface="+mn-ea"/>
              <a:cs typeface="Arial"/>
            </a:endParaRPr>
          </a:p>
          <a:p>
            <a:pPr marL="11139" marR="4456" algn="l" defTabSz="802020" rtl="0">
              <a:spcBef>
                <a:spcPts val="531"/>
              </a:spcBef>
              <a:defRPr/>
            </a:pPr>
            <a:r>
              <a:rPr sz="1053" spc="-9">
                <a:solidFill>
                  <a:srgbClr val="1F2D69"/>
                </a:solidFill>
                <a:latin typeface="Arial"/>
                <a:ea typeface="+mn-ea"/>
                <a:cs typeface="Arial"/>
              </a:rPr>
              <a:t>Collaborating</a:t>
            </a:r>
            <a:r>
              <a:rPr sz="1053" spc="-18">
                <a:solidFill>
                  <a:srgbClr val="1F2D69"/>
                </a:solidFill>
                <a:latin typeface="Arial"/>
                <a:ea typeface="+mn-ea"/>
                <a:cs typeface="Arial"/>
              </a:rPr>
              <a:t> </a:t>
            </a:r>
            <a:r>
              <a:rPr sz="1053">
                <a:solidFill>
                  <a:srgbClr val="1F2D69"/>
                </a:solidFill>
                <a:latin typeface="Arial"/>
                <a:ea typeface="+mn-ea"/>
                <a:cs typeface="Arial"/>
              </a:rPr>
              <a:t>to</a:t>
            </a:r>
            <a:r>
              <a:rPr sz="1053" spc="4">
                <a:solidFill>
                  <a:srgbClr val="1F2D69"/>
                </a:solidFill>
                <a:latin typeface="Arial"/>
                <a:ea typeface="+mn-ea"/>
                <a:cs typeface="Arial"/>
              </a:rPr>
              <a:t> </a:t>
            </a:r>
            <a:r>
              <a:rPr sz="1053">
                <a:solidFill>
                  <a:srgbClr val="1F2D69"/>
                </a:solidFill>
                <a:latin typeface="Arial"/>
                <a:ea typeface="+mn-ea"/>
                <a:cs typeface="Arial"/>
              </a:rPr>
              <a:t>shape</a:t>
            </a:r>
            <a:r>
              <a:rPr sz="1053" spc="-13">
                <a:solidFill>
                  <a:srgbClr val="1F2D69"/>
                </a:solidFill>
                <a:latin typeface="Arial"/>
                <a:ea typeface="+mn-ea"/>
                <a:cs typeface="Arial"/>
              </a:rPr>
              <a:t> </a:t>
            </a:r>
            <a:r>
              <a:rPr sz="1053">
                <a:solidFill>
                  <a:srgbClr val="1F2D69"/>
                </a:solidFill>
                <a:latin typeface="Arial"/>
                <a:ea typeface="+mn-ea"/>
                <a:cs typeface="Arial"/>
              </a:rPr>
              <a:t>the future</a:t>
            </a:r>
            <a:r>
              <a:rPr sz="1053" spc="-22">
                <a:solidFill>
                  <a:srgbClr val="1F2D69"/>
                </a:solidFill>
                <a:latin typeface="Arial"/>
                <a:ea typeface="+mn-ea"/>
                <a:cs typeface="Arial"/>
              </a:rPr>
              <a:t> of </a:t>
            </a:r>
            <a:r>
              <a:rPr sz="1053">
                <a:solidFill>
                  <a:srgbClr val="1F2D69"/>
                </a:solidFill>
                <a:latin typeface="Arial"/>
                <a:ea typeface="+mn-ea"/>
                <a:cs typeface="Arial"/>
              </a:rPr>
              <a:t>the</a:t>
            </a:r>
            <a:r>
              <a:rPr sz="1053" spc="-22">
                <a:solidFill>
                  <a:srgbClr val="1F2D69"/>
                </a:solidFill>
                <a:latin typeface="Arial"/>
                <a:ea typeface="+mn-ea"/>
                <a:cs typeface="Arial"/>
              </a:rPr>
              <a:t> </a:t>
            </a:r>
            <a:r>
              <a:rPr sz="1053">
                <a:solidFill>
                  <a:srgbClr val="1F2D69"/>
                </a:solidFill>
                <a:latin typeface="Arial"/>
                <a:ea typeface="+mn-ea"/>
                <a:cs typeface="Arial"/>
              </a:rPr>
              <a:t>wealth</a:t>
            </a:r>
            <a:r>
              <a:rPr sz="1053" spc="-26">
                <a:solidFill>
                  <a:srgbClr val="1F2D69"/>
                </a:solidFill>
                <a:latin typeface="Arial"/>
                <a:ea typeface="+mn-ea"/>
                <a:cs typeface="Arial"/>
              </a:rPr>
              <a:t> </a:t>
            </a:r>
            <a:r>
              <a:rPr sz="1053" spc="-9">
                <a:solidFill>
                  <a:srgbClr val="1F2D69"/>
                </a:solidFill>
                <a:latin typeface="Arial"/>
                <a:ea typeface="+mn-ea"/>
                <a:cs typeface="Arial"/>
              </a:rPr>
              <a:t>industry</a:t>
            </a:r>
            <a:endParaRPr sz="1053">
              <a:latin typeface="Arial"/>
              <a:ea typeface="+mn-ea"/>
              <a:cs typeface="Arial"/>
            </a:endParaRPr>
          </a:p>
        </p:txBody>
      </p:sp>
      <p:sp>
        <p:nvSpPr>
          <p:cNvPr id="16" name="object 16"/>
          <p:cNvSpPr txBox="1"/>
          <p:nvPr/>
        </p:nvSpPr>
        <p:spPr>
          <a:xfrm>
            <a:off x="1151211" y="5169570"/>
            <a:ext cx="2300752" cy="830846"/>
          </a:xfrm>
          <a:prstGeom prst="rect">
            <a:avLst/>
          </a:prstGeom>
        </p:spPr>
        <p:txBody>
          <a:bodyPr vert="horz" wrap="square" lIns="0" tIns="90783" rIns="0" bIns="0" rtlCol="0">
            <a:spAutoFit/>
          </a:bodyPr>
          <a:lstStyle/>
          <a:p>
            <a:pPr marL="11139" algn="l" defTabSz="802020" rtl="0">
              <a:spcBef>
                <a:spcPts val="715"/>
              </a:spcBef>
              <a:defRPr/>
            </a:pPr>
            <a:r>
              <a:rPr sz="1228" b="1">
                <a:solidFill>
                  <a:srgbClr val="0099C7"/>
                </a:solidFill>
                <a:latin typeface="Arial"/>
                <a:ea typeface="+mn-ea"/>
                <a:cs typeface="Arial"/>
              </a:rPr>
              <a:t>Be</a:t>
            </a:r>
            <a:r>
              <a:rPr sz="1228" b="1" spc="-26">
                <a:solidFill>
                  <a:srgbClr val="0099C7"/>
                </a:solidFill>
                <a:latin typeface="Arial"/>
                <a:ea typeface="+mn-ea"/>
                <a:cs typeface="Arial"/>
              </a:rPr>
              <a:t> </a:t>
            </a:r>
            <a:r>
              <a:rPr sz="1228" b="1">
                <a:solidFill>
                  <a:srgbClr val="0099C7"/>
                </a:solidFill>
                <a:latin typeface="Arial"/>
                <a:ea typeface="+mn-ea"/>
                <a:cs typeface="Arial"/>
              </a:rPr>
              <a:t>future</a:t>
            </a:r>
            <a:r>
              <a:rPr sz="1228" b="1" spc="-35">
                <a:solidFill>
                  <a:srgbClr val="0099C7"/>
                </a:solidFill>
                <a:latin typeface="Arial"/>
                <a:ea typeface="+mn-ea"/>
                <a:cs typeface="Arial"/>
              </a:rPr>
              <a:t> </a:t>
            </a:r>
            <a:r>
              <a:rPr sz="1228" b="1" spc="-18">
                <a:solidFill>
                  <a:srgbClr val="0099C7"/>
                </a:solidFill>
                <a:latin typeface="Arial"/>
                <a:ea typeface="+mn-ea"/>
                <a:cs typeface="Arial"/>
              </a:rPr>
              <a:t>ready</a:t>
            </a:r>
            <a:endParaRPr sz="1228">
              <a:latin typeface="Arial"/>
              <a:ea typeface="+mn-ea"/>
              <a:cs typeface="Arial"/>
            </a:endParaRPr>
          </a:p>
          <a:p>
            <a:pPr marL="11139" marR="4456" algn="l" defTabSz="802020" rtl="0">
              <a:spcBef>
                <a:spcPts val="531"/>
              </a:spcBef>
              <a:defRPr/>
            </a:pPr>
            <a:r>
              <a:rPr sz="1053">
                <a:solidFill>
                  <a:srgbClr val="1F2D69"/>
                </a:solidFill>
                <a:latin typeface="Arial"/>
                <a:ea typeface="+mn-ea"/>
                <a:cs typeface="Arial"/>
              </a:rPr>
              <a:t>Developing</a:t>
            </a:r>
            <a:r>
              <a:rPr sz="1053" spc="-53">
                <a:solidFill>
                  <a:srgbClr val="1F2D69"/>
                </a:solidFill>
                <a:latin typeface="Arial"/>
                <a:ea typeface="+mn-ea"/>
                <a:cs typeface="Arial"/>
              </a:rPr>
              <a:t> </a:t>
            </a:r>
            <a:r>
              <a:rPr sz="1053">
                <a:solidFill>
                  <a:srgbClr val="1F2D69"/>
                </a:solidFill>
                <a:latin typeface="Arial"/>
                <a:ea typeface="+mn-ea"/>
                <a:cs typeface="Arial"/>
              </a:rPr>
              <a:t>our</a:t>
            </a:r>
            <a:r>
              <a:rPr sz="1053" spc="-26">
                <a:solidFill>
                  <a:srgbClr val="1F2D69"/>
                </a:solidFill>
                <a:latin typeface="Arial"/>
                <a:ea typeface="+mn-ea"/>
                <a:cs typeface="Arial"/>
              </a:rPr>
              <a:t> </a:t>
            </a:r>
            <a:r>
              <a:rPr sz="1053">
                <a:solidFill>
                  <a:srgbClr val="1F2D69"/>
                </a:solidFill>
                <a:latin typeface="Arial"/>
                <a:ea typeface="+mn-ea"/>
                <a:cs typeface="Arial"/>
              </a:rPr>
              <a:t>people,</a:t>
            </a:r>
            <a:r>
              <a:rPr sz="1053" spc="-48">
                <a:solidFill>
                  <a:srgbClr val="1F2D69"/>
                </a:solidFill>
                <a:latin typeface="Arial"/>
                <a:ea typeface="+mn-ea"/>
                <a:cs typeface="Arial"/>
              </a:rPr>
              <a:t> </a:t>
            </a:r>
            <a:r>
              <a:rPr sz="1053" spc="-9">
                <a:solidFill>
                  <a:srgbClr val="1F2D69"/>
                </a:solidFill>
                <a:latin typeface="Arial"/>
                <a:ea typeface="+mn-ea"/>
                <a:cs typeface="Arial"/>
              </a:rPr>
              <a:t>capabilities</a:t>
            </a:r>
            <a:r>
              <a:rPr sz="1053" spc="439">
                <a:solidFill>
                  <a:srgbClr val="1F2D69"/>
                </a:solidFill>
                <a:latin typeface="Arial"/>
                <a:ea typeface="+mn-ea"/>
                <a:cs typeface="Arial"/>
              </a:rPr>
              <a:t> </a:t>
            </a:r>
            <a:r>
              <a:rPr sz="1053">
                <a:solidFill>
                  <a:srgbClr val="1F2D69"/>
                </a:solidFill>
                <a:latin typeface="Arial"/>
                <a:ea typeface="+mn-ea"/>
                <a:cs typeface="Arial"/>
              </a:rPr>
              <a:t>and</a:t>
            </a:r>
            <a:r>
              <a:rPr sz="1053" spc="-26">
                <a:solidFill>
                  <a:srgbClr val="1F2D69"/>
                </a:solidFill>
                <a:latin typeface="Arial"/>
                <a:ea typeface="+mn-ea"/>
                <a:cs typeface="Arial"/>
              </a:rPr>
              <a:t> </a:t>
            </a:r>
            <a:r>
              <a:rPr sz="1053">
                <a:solidFill>
                  <a:srgbClr val="1F2D69"/>
                </a:solidFill>
                <a:latin typeface="Arial"/>
                <a:ea typeface="+mn-ea"/>
                <a:cs typeface="Arial"/>
              </a:rPr>
              <a:t>infrastructure</a:t>
            </a:r>
            <a:r>
              <a:rPr sz="1053" spc="-39">
                <a:solidFill>
                  <a:srgbClr val="1F2D69"/>
                </a:solidFill>
                <a:latin typeface="Arial"/>
                <a:ea typeface="+mn-ea"/>
                <a:cs typeface="Arial"/>
              </a:rPr>
              <a:t> </a:t>
            </a:r>
            <a:r>
              <a:rPr sz="1053">
                <a:solidFill>
                  <a:srgbClr val="1F2D69"/>
                </a:solidFill>
                <a:latin typeface="Arial"/>
                <a:ea typeface="+mn-ea"/>
                <a:cs typeface="Arial"/>
              </a:rPr>
              <a:t>to</a:t>
            </a:r>
            <a:r>
              <a:rPr sz="1053" spc="-9">
                <a:solidFill>
                  <a:srgbClr val="1F2D69"/>
                </a:solidFill>
                <a:latin typeface="Arial"/>
                <a:ea typeface="+mn-ea"/>
                <a:cs typeface="Arial"/>
              </a:rPr>
              <a:t> </a:t>
            </a:r>
            <a:r>
              <a:rPr sz="1053">
                <a:solidFill>
                  <a:srgbClr val="1F2D69"/>
                </a:solidFill>
                <a:latin typeface="Arial"/>
                <a:ea typeface="+mn-ea"/>
                <a:cs typeface="Arial"/>
              </a:rPr>
              <a:t>support</a:t>
            </a:r>
            <a:r>
              <a:rPr sz="1053" spc="-26">
                <a:solidFill>
                  <a:srgbClr val="1F2D69"/>
                </a:solidFill>
                <a:latin typeface="Arial"/>
                <a:ea typeface="+mn-ea"/>
                <a:cs typeface="Arial"/>
              </a:rPr>
              <a:t> </a:t>
            </a:r>
            <a:r>
              <a:rPr sz="1053">
                <a:solidFill>
                  <a:srgbClr val="1F2D69"/>
                </a:solidFill>
                <a:latin typeface="Arial"/>
                <a:ea typeface="+mn-ea"/>
                <a:cs typeface="Arial"/>
              </a:rPr>
              <a:t>our</a:t>
            </a:r>
            <a:r>
              <a:rPr sz="1053" spc="-22">
                <a:solidFill>
                  <a:srgbClr val="1F2D69"/>
                </a:solidFill>
                <a:latin typeface="Arial"/>
                <a:ea typeface="+mn-ea"/>
                <a:cs typeface="Arial"/>
              </a:rPr>
              <a:t> </a:t>
            </a:r>
            <a:r>
              <a:rPr sz="1053" spc="-9">
                <a:solidFill>
                  <a:srgbClr val="1F2D69"/>
                </a:solidFill>
                <a:latin typeface="Arial"/>
                <a:ea typeface="+mn-ea"/>
                <a:cs typeface="Arial"/>
              </a:rPr>
              <a:t>future </a:t>
            </a:r>
            <a:r>
              <a:rPr sz="1053">
                <a:solidFill>
                  <a:srgbClr val="1F2D69"/>
                </a:solidFill>
                <a:latin typeface="Arial"/>
                <a:ea typeface="+mn-ea"/>
                <a:cs typeface="Arial"/>
              </a:rPr>
              <a:t>growth</a:t>
            </a:r>
            <a:r>
              <a:rPr sz="1053" spc="-31">
                <a:solidFill>
                  <a:srgbClr val="1F2D69"/>
                </a:solidFill>
                <a:latin typeface="Arial"/>
                <a:ea typeface="+mn-ea"/>
                <a:cs typeface="Arial"/>
              </a:rPr>
              <a:t> </a:t>
            </a:r>
            <a:r>
              <a:rPr sz="1053" spc="-9">
                <a:solidFill>
                  <a:srgbClr val="1F2D69"/>
                </a:solidFill>
                <a:latin typeface="Arial"/>
                <a:ea typeface="+mn-ea"/>
                <a:cs typeface="Arial"/>
              </a:rPr>
              <a:t>strategies</a:t>
            </a:r>
            <a:endParaRPr sz="1053">
              <a:latin typeface="Arial"/>
              <a:ea typeface="+mn-ea"/>
              <a:cs typeface="Arial"/>
            </a:endParaRPr>
          </a:p>
        </p:txBody>
      </p:sp>
      <p:grpSp>
        <p:nvGrpSpPr>
          <p:cNvPr id="17" name="object 17"/>
          <p:cNvGrpSpPr/>
          <p:nvPr/>
        </p:nvGrpSpPr>
        <p:grpSpPr>
          <a:xfrm>
            <a:off x="517605" y="2543384"/>
            <a:ext cx="6834307" cy="3018658"/>
            <a:chOff x="590143" y="2021077"/>
            <a:chExt cx="7792084" cy="3441700"/>
          </a:xfrm>
        </p:grpSpPr>
        <p:sp>
          <p:nvSpPr>
            <p:cNvPr id="18" name="object 18"/>
            <p:cNvSpPr/>
            <p:nvPr/>
          </p:nvSpPr>
          <p:spPr>
            <a:xfrm>
              <a:off x="593318" y="3243833"/>
              <a:ext cx="3346450" cy="1772285"/>
            </a:xfrm>
            <a:custGeom>
              <a:avLst/>
              <a:gdLst/>
              <a:ahLst/>
              <a:cxnLst/>
              <a:rect l="l" t="t" r="r" b="b"/>
              <a:pathLst>
                <a:path w="3346450" h="1772285">
                  <a:moveTo>
                    <a:pt x="0" y="0"/>
                  </a:moveTo>
                  <a:lnTo>
                    <a:pt x="3346094" y="0"/>
                  </a:lnTo>
                </a:path>
                <a:path w="3346450" h="1772285">
                  <a:moveTo>
                    <a:pt x="0" y="914526"/>
                  </a:moveTo>
                  <a:lnTo>
                    <a:pt x="3346094" y="914526"/>
                  </a:lnTo>
                </a:path>
                <a:path w="3346450" h="1772285">
                  <a:moveTo>
                    <a:pt x="0" y="1771903"/>
                  </a:moveTo>
                  <a:lnTo>
                    <a:pt x="3346094" y="1771903"/>
                  </a:lnTo>
                </a:path>
              </a:pathLst>
            </a:custGeom>
            <a:ln w="6350">
              <a:solidFill>
                <a:srgbClr val="0099C7"/>
              </a:solidFill>
            </a:ln>
          </p:spPr>
          <p:txBody>
            <a:bodyPr wrap="square" lIns="0" tIns="0" rIns="0" bIns="0" rtlCol="0"/>
            <a:lstStyle/>
            <a:p>
              <a:pPr algn="l" defTabSz="802020" rtl="0">
                <a:defRPr/>
              </a:pPr>
              <a:endParaRPr sz="1579">
                <a:latin typeface="Calibri"/>
                <a:ea typeface="+mn-ea"/>
                <a:cs typeface="+mn-cs"/>
              </a:endParaRPr>
            </a:p>
          </p:txBody>
        </p:sp>
        <p:sp>
          <p:nvSpPr>
            <p:cNvPr id="19" name="object 19"/>
            <p:cNvSpPr/>
            <p:nvPr/>
          </p:nvSpPr>
          <p:spPr>
            <a:xfrm>
              <a:off x="6688581" y="2021077"/>
              <a:ext cx="1693545" cy="1663064"/>
            </a:xfrm>
            <a:custGeom>
              <a:avLst/>
              <a:gdLst/>
              <a:ahLst/>
              <a:cxnLst/>
              <a:rect l="l" t="t" r="r" b="b"/>
              <a:pathLst>
                <a:path w="1693545" h="1663064">
                  <a:moveTo>
                    <a:pt x="130301" y="0"/>
                  </a:moveTo>
                  <a:lnTo>
                    <a:pt x="80635" y="5240"/>
                  </a:lnTo>
                  <a:lnTo>
                    <a:pt x="39100" y="28971"/>
                  </a:lnTo>
                  <a:lnTo>
                    <a:pt x="10590" y="66919"/>
                  </a:lnTo>
                  <a:lnTo>
                    <a:pt x="0" y="114808"/>
                  </a:lnTo>
                  <a:lnTo>
                    <a:pt x="0" y="1547622"/>
                  </a:lnTo>
                  <a:lnTo>
                    <a:pt x="9249" y="1592609"/>
                  </a:lnTo>
                  <a:lnTo>
                    <a:pt x="34464" y="1629298"/>
                  </a:lnTo>
                  <a:lnTo>
                    <a:pt x="71848" y="1654010"/>
                  </a:lnTo>
                  <a:lnTo>
                    <a:pt x="117601" y="1663065"/>
                  </a:lnTo>
                  <a:lnTo>
                    <a:pt x="1576451" y="1663065"/>
                  </a:lnTo>
                  <a:lnTo>
                    <a:pt x="1625228" y="1652690"/>
                  </a:lnTo>
                  <a:lnTo>
                    <a:pt x="1663874" y="1624742"/>
                  </a:lnTo>
                  <a:lnTo>
                    <a:pt x="1688018" y="1583983"/>
                  </a:lnTo>
                  <a:lnTo>
                    <a:pt x="1693291" y="1535176"/>
                  </a:lnTo>
                  <a:lnTo>
                    <a:pt x="1687350" y="1486922"/>
                  </a:lnTo>
                  <a:lnTo>
                    <a:pt x="1680072" y="1439087"/>
                  </a:lnTo>
                  <a:lnTo>
                    <a:pt x="1671475" y="1391687"/>
                  </a:lnTo>
                  <a:lnTo>
                    <a:pt x="1661578" y="1344742"/>
                  </a:lnTo>
                  <a:lnTo>
                    <a:pt x="1650401" y="1298270"/>
                  </a:lnTo>
                  <a:lnTo>
                    <a:pt x="1637962" y="1252291"/>
                  </a:lnTo>
                  <a:lnTo>
                    <a:pt x="1624281" y="1206822"/>
                  </a:lnTo>
                  <a:lnTo>
                    <a:pt x="1609376" y="1161883"/>
                  </a:lnTo>
                  <a:lnTo>
                    <a:pt x="1593267" y="1117492"/>
                  </a:lnTo>
                  <a:lnTo>
                    <a:pt x="1575972" y="1073668"/>
                  </a:lnTo>
                  <a:lnTo>
                    <a:pt x="1557510" y="1030429"/>
                  </a:lnTo>
                  <a:lnTo>
                    <a:pt x="1537901" y="987794"/>
                  </a:lnTo>
                  <a:lnTo>
                    <a:pt x="1517164" y="945783"/>
                  </a:lnTo>
                  <a:lnTo>
                    <a:pt x="1495317" y="904413"/>
                  </a:lnTo>
                  <a:lnTo>
                    <a:pt x="1472379" y="863703"/>
                  </a:lnTo>
                  <a:lnTo>
                    <a:pt x="1448371" y="823672"/>
                  </a:lnTo>
                  <a:lnTo>
                    <a:pt x="1423309" y="784339"/>
                  </a:lnTo>
                  <a:lnTo>
                    <a:pt x="1397214" y="745722"/>
                  </a:lnTo>
                  <a:lnTo>
                    <a:pt x="1370105" y="707840"/>
                  </a:lnTo>
                  <a:lnTo>
                    <a:pt x="1342000" y="670712"/>
                  </a:lnTo>
                  <a:lnTo>
                    <a:pt x="1312919" y="634356"/>
                  </a:lnTo>
                  <a:lnTo>
                    <a:pt x="1282881" y="598791"/>
                  </a:lnTo>
                  <a:lnTo>
                    <a:pt x="1251904" y="564036"/>
                  </a:lnTo>
                  <a:lnTo>
                    <a:pt x="1220008" y="530109"/>
                  </a:lnTo>
                  <a:lnTo>
                    <a:pt x="1187211" y="497030"/>
                  </a:lnTo>
                  <a:lnTo>
                    <a:pt x="1153534" y="464816"/>
                  </a:lnTo>
                  <a:lnTo>
                    <a:pt x="1118993" y="433487"/>
                  </a:lnTo>
                  <a:lnTo>
                    <a:pt x="1083610" y="403061"/>
                  </a:lnTo>
                  <a:lnTo>
                    <a:pt x="1047402" y="373556"/>
                  </a:lnTo>
                  <a:lnTo>
                    <a:pt x="1010389" y="344992"/>
                  </a:lnTo>
                  <a:lnTo>
                    <a:pt x="972590" y="317388"/>
                  </a:lnTo>
                  <a:lnTo>
                    <a:pt x="934023" y="290761"/>
                  </a:lnTo>
                  <a:lnTo>
                    <a:pt x="894709" y="265131"/>
                  </a:lnTo>
                  <a:lnTo>
                    <a:pt x="854665" y="240516"/>
                  </a:lnTo>
                  <a:lnTo>
                    <a:pt x="813910" y="216935"/>
                  </a:lnTo>
                  <a:lnTo>
                    <a:pt x="772465" y="194407"/>
                  </a:lnTo>
                  <a:lnTo>
                    <a:pt x="730347" y="172950"/>
                  </a:lnTo>
                  <a:lnTo>
                    <a:pt x="687577" y="152583"/>
                  </a:lnTo>
                  <a:lnTo>
                    <a:pt x="644172" y="133325"/>
                  </a:lnTo>
                  <a:lnTo>
                    <a:pt x="600152" y="115194"/>
                  </a:lnTo>
                  <a:lnTo>
                    <a:pt x="555536" y="98209"/>
                  </a:lnTo>
                  <a:lnTo>
                    <a:pt x="510342" y="82388"/>
                  </a:lnTo>
                  <a:lnTo>
                    <a:pt x="464591" y="67752"/>
                  </a:lnTo>
                  <a:lnTo>
                    <a:pt x="418300" y="54317"/>
                  </a:lnTo>
                  <a:lnTo>
                    <a:pt x="371490" y="42103"/>
                  </a:lnTo>
                  <a:lnTo>
                    <a:pt x="324178" y="31129"/>
                  </a:lnTo>
                  <a:lnTo>
                    <a:pt x="276385" y="21413"/>
                  </a:lnTo>
                  <a:lnTo>
                    <a:pt x="228128" y="12973"/>
                  </a:lnTo>
                  <a:lnTo>
                    <a:pt x="179427" y="5829"/>
                  </a:lnTo>
                  <a:lnTo>
                    <a:pt x="130301" y="0"/>
                  </a:lnTo>
                  <a:close/>
                </a:path>
              </a:pathLst>
            </a:custGeom>
            <a:solidFill>
              <a:srgbClr val="0099C7"/>
            </a:solidFill>
          </p:spPr>
          <p:txBody>
            <a:bodyPr wrap="square" lIns="0" tIns="0" rIns="0" bIns="0" rtlCol="0"/>
            <a:lstStyle/>
            <a:p>
              <a:pPr algn="l" defTabSz="802020" rtl="0">
                <a:defRPr/>
              </a:pPr>
              <a:endParaRPr sz="1579">
                <a:latin typeface="Calibri"/>
                <a:ea typeface="+mn-ea"/>
                <a:cs typeface="+mn-cs"/>
              </a:endParaRPr>
            </a:p>
          </p:txBody>
        </p:sp>
        <p:sp>
          <p:nvSpPr>
            <p:cNvPr id="20" name="object 20"/>
            <p:cNvSpPr/>
            <p:nvPr/>
          </p:nvSpPr>
          <p:spPr>
            <a:xfrm>
              <a:off x="6688581" y="3799458"/>
              <a:ext cx="1693545" cy="1663064"/>
            </a:xfrm>
            <a:custGeom>
              <a:avLst/>
              <a:gdLst/>
              <a:ahLst/>
              <a:cxnLst/>
              <a:rect l="l" t="t" r="r" b="b"/>
              <a:pathLst>
                <a:path w="1693545" h="1663064">
                  <a:moveTo>
                    <a:pt x="1576451" y="0"/>
                  </a:moveTo>
                  <a:lnTo>
                    <a:pt x="117601" y="0"/>
                  </a:lnTo>
                  <a:lnTo>
                    <a:pt x="71848" y="9072"/>
                  </a:lnTo>
                  <a:lnTo>
                    <a:pt x="34464" y="33813"/>
                  </a:lnTo>
                  <a:lnTo>
                    <a:pt x="9249" y="70508"/>
                  </a:lnTo>
                  <a:lnTo>
                    <a:pt x="0" y="115443"/>
                  </a:lnTo>
                  <a:lnTo>
                    <a:pt x="0" y="1548257"/>
                  </a:lnTo>
                  <a:lnTo>
                    <a:pt x="10590" y="1596145"/>
                  </a:lnTo>
                  <a:lnTo>
                    <a:pt x="39100" y="1634093"/>
                  </a:lnTo>
                  <a:lnTo>
                    <a:pt x="80635" y="1657824"/>
                  </a:lnTo>
                  <a:lnTo>
                    <a:pt x="130301" y="1663065"/>
                  </a:lnTo>
                  <a:lnTo>
                    <a:pt x="179427" y="1657235"/>
                  </a:lnTo>
                  <a:lnTo>
                    <a:pt x="228129" y="1650091"/>
                  </a:lnTo>
                  <a:lnTo>
                    <a:pt x="276386" y="1641651"/>
                  </a:lnTo>
                  <a:lnTo>
                    <a:pt x="324181" y="1631935"/>
                  </a:lnTo>
                  <a:lnTo>
                    <a:pt x="371493" y="1620961"/>
                  </a:lnTo>
                  <a:lnTo>
                    <a:pt x="418305" y="1608747"/>
                  </a:lnTo>
                  <a:lnTo>
                    <a:pt x="464597" y="1595312"/>
                  </a:lnTo>
                  <a:lnTo>
                    <a:pt x="510350" y="1580676"/>
                  </a:lnTo>
                  <a:lnTo>
                    <a:pt x="555546" y="1564855"/>
                  </a:lnTo>
                  <a:lnTo>
                    <a:pt x="600164" y="1547870"/>
                  </a:lnTo>
                  <a:lnTo>
                    <a:pt x="644186" y="1529739"/>
                  </a:lnTo>
                  <a:lnTo>
                    <a:pt x="687593" y="1510481"/>
                  </a:lnTo>
                  <a:lnTo>
                    <a:pt x="730366" y="1490114"/>
                  </a:lnTo>
                  <a:lnTo>
                    <a:pt x="772486" y="1468657"/>
                  </a:lnTo>
                  <a:lnTo>
                    <a:pt x="813934" y="1446129"/>
                  </a:lnTo>
                  <a:lnTo>
                    <a:pt x="854691" y="1422548"/>
                  </a:lnTo>
                  <a:lnTo>
                    <a:pt x="894738" y="1397933"/>
                  </a:lnTo>
                  <a:lnTo>
                    <a:pt x="934055" y="1372303"/>
                  </a:lnTo>
                  <a:lnTo>
                    <a:pt x="972624" y="1345676"/>
                  </a:lnTo>
                  <a:lnTo>
                    <a:pt x="1010426" y="1318072"/>
                  </a:lnTo>
                  <a:lnTo>
                    <a:pt x="1047441" y="1289508"/>
                  </a:lnTo>
                  <a:lnTo>
                    <a:pt x="1083651" y="1260003"/>
                  </a:lnTo>
                  <a:lnTo>
                    <a:pt x="1119037" y="1229577"/>
                  </a:lnTo>
                  <a:lnTo>
                    <a:pt x="1153579" y="1198248"/>
                  </a:lnTo>
                  <a:lnTo>
                    <a:pt x="1187259" y="1166034"/>
                  </a:lnTo>
                  <a:lnTo>
                    <a:pt x="1220057" y="1132955"/>
                  </a:lnTo>
                  <a:lnTo>
                    <a:pt x="1251955" y="1099028"/>
                  </a:lnTo>
                  <a:lnTo>
                    <a:pt x="1282933" y="1064273"/>
                  </a:lnTo>
                  <a:lnTo>
                    <a:pt x="1312973" y="1028708"/>
                  </a:lnTo>
                  <a:lnTo>
                    <a:pt x="1342055" y="992352"/>
                  </a:lnTo>
                  <a:lnTo>
                    <a:pt x="1370161" y="955224"/>
                  </a:lnTo>
                  <a:lnTo>
                    <a:pt x="1397270" y="917342"/>
                  </a:lnTo>
                  <a:lnTo>
                    <a:pt x="1423366" y="878725"/>
                  </a:lnTo>
                  <a:lnTo>
                    <a:pt x="1448427" y="839392"/>
                  </a:lnTo>
                  <a:lnTo>
                    <a:pt x="1472435" y="799361"/>
                  </a:lnTo>
                  <a:lnTo>
                    <a:pt x="1495372" y="758651"/>
                  </a:lnTo>
                  <a:lnTo>
                    <a:pt x="1517218" y="717281"/>
                  </a:lnTo>
                  <a:lnTo>
                    <a:pt x="1537954" y="675270"/>
                  </a:lnTo>
                  <a:lnTo>
                    <a:pt x="1557561" y="632635"/>
                  </a:lnTo>
                  <a:lnTo>
                    <a:pt x="1576021" y="589396"/>
                  </a:lnTo>
                  <a:lnTo>
                    <a:pt x="1593313" y="545572"/>
                  </a:lnTo>
                  <a:lnTo>
                    <a:pt x="1609419" y="501181"/>
                  </a:lnTo>
                  <a:lnTo>
                    <a:pt x="1624321" y="456242"/>
                  </a:lnTo>
                  <a:lnTo>
                    <a:pt x="1637998" y="410773"/>
                  </a:lnTo>
                  <a:lnTo>
                    <a:pt x="1650432" y="364794"/>
                  </a:lnTo>
                  <a:lnTo>
                    <a:pt x="1661604" y="318322"/>
                  </a:lnTo>
                  <a:lnTo>
                    <a:pt x="1671495" y="271377"/>
                  </a:lnTo>
                  <a:lnTo>
                    <a:pt x="1680086" y="223977"/>
                  </a:lnTo>
                  <a:lnTo>
                    <a:pt x="1687357" y="176142"/>
                  </a:lnTo>
                  <a:lnTo>
                    <a:pt x="1693291" y="127889"/>
                  </a:lnTo>
                  <a:lnTo>
                    <a:pt x="1688018" y="79134"/>
                  </a:lnTo>
                  <a:lnTo>
                    <a:pt x="1663874" y="38369"/>
                  </a:lnTo>
                  <a:lnTo>
                    <a:pt x="1625228" y="10392"/>
                  </a:lnTo>
                  <a:lnTo>
                    <a:pt x="1576451" y="0"/>
                  </a:lnTo>
                  <a:close/>
                </a:path>
              </a:pathLst>
            </a:custGeom>
            <a:solidFill>
              <a:srgbClr val="FFBD37"/>
            </a:solidFill>
          </p:spPr>
          <p:txBody>
            <a:bodyPr wrap="square" lIns="0" tIns="0" rIns="0" bIns="0" rtlCol="0"/>
            <a:lstStyle/>
            <a:p>
              <a:pPr algn="l" defTabSz="802020" rtl="0">
                <a:defRPr/>
              </a:pPr>
              <a:endParaRPr sz="1579">
                <a:latin typeface="Calibri"/>
                <a:ea typeface="+mn-ea"/>
                <a:cs typeface="+mn-cs"/>
              </a:endParaRPr>
            </a:p>
          </p:txBody>
        </p:sp>
        <p:sp>
          <p:nvSpPr>
            <p:cNvPr id="21" name="object 21"/>
            <p:cNvSpPr/>
            <p:nvPr/>
          </p:nvSpPr>
          <p:spPr>
            <a:xfrm>
              <a:off x="4878069" y="2021077"/>
              <a:ext cx="1693545" cy="1663064"/>
            </a:xfrm>
            <a:custGeom>
              <a:avLst/>
              <a:gdLst/>
              <a:ahLst/>
              <a:cxnLst/>
              <a:rect l="l" t="t" r="r" b="b"/>
              <a:pathLst>
                <a:path w="1693545" h="1663064">
                  <a:moveTo>
                    <a:pt x="1562989" y="0"/>
                  </a:moveTo>
                  <a:lnTo>
                    <a:pt x="1513855" y="5829"/>
                  </a:lnTo>
                  <a:lnTo>
                    <a:pt x="1465147" y="12973"/>
                  </a:lnTo>
                  <a:lnTo>
                    <a:pt x="1416884" y="21413"/>
                  </a:lnTo>
                  <a:lnTo>
                    <a:pt x="1369084" y="31129"/>
                  </a:lnTo>
                  <a:lnTo>
                    <a:pt x="1321766" y="42103"/>
                  </a:lnTo>
                  <a:lnTo>
                    <a:pt x="1274949" y="54317"/>
                  </a:lnTo>
                  <a:lnTo>
                    <a:pt x="1228653" y="67752"/>
                  </a:lnTo>
                  <a:lnTo>
                    <a:pt x="1182897" y="82388"/>
                  </a:lnTo>
                  <a:lnTo>
                    <a:pt x="1137698" y="98209"/>
                  </a:lnTo>
                  <a:lnTo>
                    <a:pt x="1093077" y="115194"/>
                  </a:lnTo>
                  <a:lnTo>
                    <a:pt x="1049053" y="133325"/>
                  </a:lnTo>
                  <a:lnTo>
                    <a:pt x="1005644" y="152583"/>
                  </a:lnTo>
                  <a:lnTo>
                    <a:pt x="962869" y="172950"/>
                  </a:lnTo>
                  <a:lnTo>
                    <a:pt x="920748" y="194407"/>
                  </a:lnTo>
                  <a:lnTo>
                    <a:pt x="879300" y="216935"/>
                  </a:lnTo>
                  <a:lnTo>
                    <a:pt x="838543" y="240516"/>
                  </a:lnTo>
                  <a:lnTo>
                    <a:pt x="798496" y="265131"/>
                  </a:lnTo>
                  <a:lnTo>
                    <a:pt x="759179" y="290761"/>
                  </a:lnTo>
                  <a:lnTo>
                    <a:pt x="720610" y="317388"/>
                  </a:lnTo>
                  <a:lnTo>
                    <a:pt x="682809" y="344992"/>
                  </a:lnTo>
                  <a:lnTo>
                    <a:pt x="645795" y="373556"/>
                  </a:lnTo>
                  <a:lnTo>
                    <a:pt x="609586" y="403061"/>
                  </a:lnTo>
                  <a:lnTo>
                    <a:pt x="574202" y="433487"/>
                  </a:lnTo>
                  <a:lnTo>
                    <a:pt x="539661" y="464816"/>
                  </a:lnTo>
                  <a:lnTo>
                    <a:pt x="505983" y="497030"/>
                  </a:lnTo>
                  <a:lnTo>
                    <a:pt x="473187" y="530109"/>
                  </a:lnTo>
                  <a:lnTo>
                    <a:pt x="441291" y="564036"/>
                  </a:lnTo>
                  <a:lnTo>
                    <a:pt x="410315" y="598791"/>
                  </a:lnTo>
                  <a:lnTo>
                    <a:pt x="380278" y="634356"/>
                  </a:lnTo>
                  <a:lnTo>
                    <a:pt x="351198" y="670712"/>
                  </a:lnTo>
                  <a:lnTo>
                    <a:pt x="323095" y="707840"/>
                  </a:lnTo>
                  <a:lnTo>
                    <a:pt x="295988" y="745722"/>
                  </a:lnTo>
                  <a:lnTo>
                    <a:pt x="269895" y="784339"/>
                  </a:lnTo>
                  <a:lnTo>
                    <a:pt x="244837" y="823672"/>
                  </a:lnTo>
                  <a:lnTo>
                    <a:pt x="220831" y="863703"/>
                  </a:lnTo>
                  <a:lnTo>
                    <a:pt x="197896" y="904413"/>
                  </a:lnTo>
                  <a:lnTo>
                    <a:pt x="176053" y="945783"/>
                  </a:lnTo>
                  <a:lnTo>
                    <a:pt x="155319" y="987794"/>
                  </a:lnTo>
                  <a:lnTo>
                    <a:pt x="135714" y="1030429"/>
                  </a:lnTo>
                  <a:lnTo>
                    <a:pt x="117257" y="1073668"/>
                  </a:lnTo>
                  <a:lnTo>
                    <a:pt x="99967" y="1117492"/>
                  </a:lnTo>
                  <a:lnTo>
                    <a:pt x="83862" y="1161883"/>
                  </a:lnTo>
                  <a:lnTo>
                    <a:pt x="68963" y="1206822"/>
                  </a:lnTo>
                  <a:lnTo>
                    <a:pt x="55287" y="1252291"/>
                  </a:lnTo>
                  <a:lnTo>
                    <a:pt x="42855" y="1298270"/>
                  </a:lnTo>
                  <a:lnTo>
                    <a:pt x="31684" y="1344742"/>
                  </a:lnTo>
                  <a:lnTo>
                    <a:pt x="21794" y="1391687"/>
                  </a:lnTo>
                  <a:lnTo>
                    <a:pt x="13204" y="1439087"/>
                  </a:lnTo>
                  <a:lnTo>
                    <a:pt x="5933" y="1486922"/>
                  </a:lnTo>
                  <a:lnTo>
                    <a:pt x="0" y="1535176"/>
                  </a:lnTo>
                  <a:lnTo>
                    <a:pt x="5272" y="1583983"/>
                  </a:lnTo>
                  <a:lnTo>
                    <a:pt x="29416" y="1624742"/>
                  </a:lnTo>
                  <a:lnTo>
                    <a:pt x="68062" y="1652690"/>
                  </a:lnTo>
                  <a:lnTo>
                    <a:pt x="116839" y="1663065"/>
                  </a:lnTo>
                  <a:lnTo>
                    <a:pt x="1575689" y="1663065"/>
                  </a:lnTo>
                  <a:lnTo>
                    <a:pt x="1621422" y="1654010"/>
                  </a:lnTo>
                  <a:lnTo>
                    <a:pt x="1658762" y="1629298"/>
                  </a:lnTo>
                  <a:lnTo>
                    <a:pt x="1683934" y="1592609"/>
                  </a:lnTo>
                  <a:lnTo>
                    <a:pt x="1693163" y="1547622"/>
                  </a:lnTo>
                  <a:lnTo>
                    <a:pt x="1693163" y="114808"/>
                  </a:lnTo>
                  <a:lnTo>
                    <a:pt x="1682593" y="66919"/>
                  </a:lnTo>
                  <a:lnTo>
                    <a:pt x="1654127" y="28971"/>
                  </a:lnTo>
                  <a:lnTo>
                    <a:pt x="1612636" y="5240"/>
                  </a:lnTo>
                  <a:lnTo>
                    <a:pt x="1562989" y="0"/>
                  </a:lnTo>
                  <a:close/>
                </a:path>
              </a:pathLst>
            </a:custGeom>
            <a:solidFill>
              <a:srgbClr val="4EB9AE"/>
            </a:solidFill>
          </p:spPr>
          <p:txBody>
            <a:bodyPr wrap="square" lIns="0" tIns="0" rIns="0" bIns="0" rtlCol="0"/>
            <a:lstStyle/>
            <a:p>
              <a:pPr algn="l" defTabSz="802020" rtl="0">
                <a:defRPr/>
              </a:pPr>
              <a:endParaRPr sz="1579">
                <a:latin typeface="Calibri"/>
                <a:ea typeface="+mn-ea"/>
                <a:cs typeface="+mn-cs"/>
              </a:endParaRPr>
            </a:p>
          </p:txBody>
        </p:sp>
        <p:sp>
          <p:nvSpPr>
            <p:cNvPr id="22" name="object 22"/>
            <p:cNvSpPr/>
            <p:nvPr/>
          </p:nvSpPr>
          <p:spPr>
            <a:xfrm>
              <a:off x="4878069" y="3799458"/>
              <a:ext cx="1693545" cy="1663064"/>
            </a:xfrm>
            <a:custGeom>
              <a:avLst/>
              <a:gdLst/>
              <a:ahLst/>
              <a:cxnLst/>
              <a:rect l="l" t="t" r="r" b="b"/>
              <a:pathLst>
                <a:path w="1693545" h="1663064">
                  <a:moveTo>
                    <a:pt x="1575689" y="0"/>
                  </a:moveTo>
                  <a:lnTo>
                    <a:pt x="116839" y="0"/>
                  </a:lnTo>
                  <a:lnTo>
                    <a:pt x="68062" y="10392"/>
                  </a:lnTo>
                  <a:lnTo>
                    <a:pt x="29416" y="38369"/>
                  </a:lnTo>
                  <a:lnTo>
                    <a:pt x="5272" y="79134"/>
                  </a:lnTo>
                  <a:lnTo>
                    <a:pt x="0" y="127889"/>
                  </a:lnTo>
                  <a:lnTo>
                    <a:pt x="5933" y="176142"/>
                  </a:lnTo>
                  <a:lnTo>
                    <a:pt x="13204" y="223977"/>
                  </a:lnTo>
                  <a:lnTo>
                    <a:pt x="21794" y="271377"/>
                  </a:lnTo>
                  <a:lnTo>
                    <a:pt x="31684" y="318322"/>
                  </a:lnTo>
                  <a:lnTo>
                    <a:pt x="42855" y="364794"/>
                  </a:lnTo>
                  <a:lnTo>
                    <a:pt x="55287" y="410773"/>
                  </a:lnTo>
                  <a:lnTo>
                    <a:pt x="68963" y="456242"/>
                  </a:lnTo>
                  <a:lnTo>
                    <a:pt x="83862" y="501181"/>
                  </a:lnTo>
                  <a:lnTo>
                    <a:pt x="99967" y="545572"/>
                  </a:lnTo>
                  <a:lnTo>
                    <a:pt x="117257" y="589396"/>
                  </a:lnTo>
                  <a:lnTo>
                    <a:pt x="135714" y="632635"/>
                  </a:lnTo>
                  <a:lnTo>
                    <a:pt x="155319" y="675270"/>
                  </a:lnTo>
                  <a:lnTo>
                    <a:pt x="176053" y="717281"/>
                  </a:lnTo>
                  <a:lnTo>
                    <a:pt x="197896" y="758651"/>
                  </a:lnTo>
                  <a:lnTo>
                    <a:pt x="220831" y="799361"/>
                  </a:lnTo>
                  <a:lnTo>
                    <a:pt x="244837" y="839392"/>
                  </a:lnTo>
                  <a:lnTo>
                    <a:pt x="269895" y="878725"/>
                  </a:lnTo>
                  <a:lnTo>
                    <a:pt x="295988" y="917342"/>
                  </a:lnTo>
                  <a:lnTo>
                    <a:pt x="323095" y="955224"/>
                  </a:lnTo>
                  <a:lnTo>
                    <a:pt x="351198" y="992352"/>
                  </a:lnTo>
                  <a:lnTo>
                    <a:pt x="380278" y="1028708"/>
                  </a:lnTo>
                  <a:lnTo>
                    <a:pt x="410315" y="1064273"/>
                  </a:lnTo>
                  <a:lnTo>
                    <a:pt x="441291" y="1099028"/>
                  </a:lnTo>
                  <a:lnTo>
                    <a:pt x="473187" y="1132955"/>
                  </a:lnTo>
                  <a:lnTo>
                    <a:pt x="505983" y="1166034"/>
                  </a:lnTo>
                  <a:lnTo>
                    <a:pt x="539661" y="1198248"/>
                  </a:lnTo>
                  <a:lnTo>
                    <a:pt x="574202" y="1229577"/>
                  </a:lnTo>
                  <a:lnTo>
                    <a:pt x="609586" y="1260003"/>
                  </a:lnTo>
                  <a:lnTo>
                    <a:pt x="645795" y="1289508"/>
                  </a:lnTo>
                  <a:lnTo>
                    <a:pt x="682809" y="1318072"/>
                  </a:lnTo>
                  <a:lnTo>
                    <a:pt x="720610" y="1345676"/>
                  </a:lnTo>
                  <a:lnTo>
                    <a:pt x="759179" y="1372303"/>
                  </a:lnTo>
                  <a:lnTo>
                    <a:pt x="798496" y="1397933"/>
                  </a:lnTo>
                  <a:lnTo>
                    <a:pt x="838543" y="1422548"/>
                  </a:lnTo>
                  <a:lnTo>
                    <a:pt x="879300" y="1446129"/>
                  </a:lnTo>
                  <a:lnTo>
                    <a:pt x="920748" y="1468657"/>
                  </a:lnTo>
                  <a:lnTo>
                    <a:pt x="962869" y="1490114"/>
                  </a:lnTo>
                  <a:lnTo>
                    <a:pt x="1005644" y="1510481"/>
                  </a:lnTo>
                  <a:lnTo>
                    <a:pt x="1049053" y="1529739"/>
                  </a:lnTo>
                  <a:lnTo>
                    <a:pt x="1093077" y="1547870"/>
                  </a:lnTo>
                  <a:lnTo>
                    <a:pt x="1137698" y="1564855"/>
                  </a:lnTo>
                  <a:lnTo>
                    <a:pt x="1182897" y="1580676"/>
                  </a:lnTo>
                  <a:lnTo>
                    <a:pt x="1228653" y="1595312"/>
                  </a:lnTo>
                  <a:lnTo>
                    <a:pt x="1274949" y="1608747"/>
                  </a:lnTo>
                  <a:lnTo>
                    <a:pt x="1321766" y="1620961"/>
                  </a:lnTo>
                  <a:lnTo>
                    <a:pt x="1369084" y="1631935"/>
                  </a:lnTo>
                  <a:lnTo>
                    <a:pt x="1416884" y="1641651"/>
                  </a:lnTo>
                  <a:lnTo>
                    <a:pt x="1465147" y="1650091"/>
                  </a:lnTo>
                  <a:lnTo>
                    <a:pt x="1513855" y="1657235"/>
                  </a:lnTo>
                  <a:lnTo>
                    <a:pt x="1562989" y="1663065"/>
                  </a:lnTo>
                  <a:lnTo>
                    <a:pt x="1612636" y="1657824"/>
                  </a:lnTo>
                  <a:lnTo>
                    <a:pt x="1654127" y="1634093"/>
                  </a:lnTo>
                  <a:lnTo>
                    <a:pt x="1682593" y="1596145"/>
                  </a:lnTo>
                  <a:lnTo>
                    <a:pt x="1693163" y="1548257"/>
                  </a:lnTo>
                  <a:lnTo>
                    <a:pt x="1693163" y="115443"/>
                  </a:lnTo>
                  <a:lnTo>
                    <a:pt x="1683934" y="70508"/>
                  </a:lnTo>
                  <a:lnTo>
                    <a:pt x="1658762" y="33813"/>
                  </a:lnTo>
                  <a:lnTo>
                    <a:pt x="1621422" y="9072"/>
                  </a:lnTo>
                  <a:lnTo>
                    <a:pt x="1575689" y="0"/>
                  </a:lnTo>
                  <a:close/>
                </a:path>
              </a:pathLst>
            </a:custGeom>
            <a:solidFill>
              <a:srgbClr val="E7E6E6"/>
            </a:solidFill>
          </p:spPr>
          <p:txBody>
            <a:bodyPr wrap="square" lIns="0" tIns="0" rIns="0" bIns="0" rtlCol="0"/>
            <a:lstStyle/>
            <a:p>
              <a:pPr algn="l" defTabSz="802020" rtl="0">
                <a:defRPr/>
              </a:pPr>
              <a:endParaRPr sz="1579">
                <a:latin typeface="Calibri"/>
                <a:ea typeface="+mn-ea"/>
                <a:cs typeface="+mn-cs"/>
              </a:endParaRPr>
            </a:p>
          </p:txBody>
        </p:sp>
        <p:pic>
          <p:nvPicPr>
            <p:cNvPr id="23" name="object 23"/>
            <p:cNvPicPr/>
            <p:nvPr/>
          </p:nvPicPr>
          <p:blipFill>
            <a:blip r:embed="rId7" cstate="print"/>
            <a:stretch>
              <a:fillRect/>
            </a:stretch>
          </p:blipFill>
          <p:spPr>
            <a:xfrm>
              <a:off x="6841236" y="2777553"/>
              <a:ext cx="647738" cy="174053"/>
            </a:xfrm>
            <a:prstGeom prst="rect">
              <a:avLst/>
            </a:prstGeom>
          </p:spPr>
        </p:pic>
        <p:pic>
          <p:nvPicPr>
            <p:cNvPr id="24" name="object 24"/>
            <p:cNvPicPr/>
            <p:nvPr/>
          </p:nvPicPr>
          <p:blipFill>
            <a:blip r:embed="rId8" cstate="print"/>
            <a:stretch>
              <a:fillRect/>
            </a:stretch>
          </p:blipFill>
          <p:spPr>
            <a:xfrm>
              <a:off x="5475350" y="4717923"/>
              <a:ext cx="961694" cy="168020"/>
            </a:xfrm>
            <a:prstGeom prst="rect">
              <a:avLst/>
            </a:prstGeom>
          </p:spPr>
        </p:pic>
        <p:pic>
          <p:nvPicPr>
            <p:cNvPr id="25" name="object 25"/>
            <p:cNvPicPr/>
            <p:nvPr/>
          </p:nvPicPr>
          <p:blipFill>
            <a:blip r:embed="rId9" cstate="print"/>
            <a:stretch>
              <a:fillRect/>
            </a:stretch>
          </p:blipFill>
          <p:spPr>
            <a:xfrm>
              <a:off x="6863969" y="4704562"/>
              <a:ext cx="602259" cy="160553"/>
            </a:xfrm>
            <a:prstGeom prst="rect">
              <a:avLst/>
            </a:prstGeom>
          </p:spPr>
        </p:pic>
      </p:grpSp>
      <p:sp>
        <p:nvSpPr>
          <p:cNvPr id="26" name="object 26"/>
          <p:cNvSpPr txBox="1"/>
          <p:nvPr/>
        </p:nvSpPr>
        <p:spPr>
          <a:xfrm>
            <a:off x="4268893" y="1402533"/>
            <a:ext cx="2593150" cy="658363"/>
          </a:xfrm>
          <a:prstGeom prst="rect">
            <a:avLst/>
          </a:prstGeom>
        </p:spPr>
        <p:txBody>
          <a:bodyPr vert="horz" wrap="square" lIns="0" tIns="10582" rIns="0" bIns="0" rtlCol="0">
            <a:spAutoFit/>
          </a:bodyPr>
          <a:lstStyle/>
          <a:p>
            <a:pPr marL="11139" marR="4456" algn="l" defTabSz="802020" rtl="0">
              <a:spcBef>
                <a:spcPts val="83"/>
              </a:spcBef>
              <a:defRPr/>
            </a:pPr>
            <a:r>
              <a:rPr sz="1403" b="1">
                <a:solidFill>
                  <a:srgbClr val="FFBD37"/>
                </a:solidFill>
                <a:latin typeface="Arial"/>
                <a:ea typeface="+mn-ea"/>
                <a:cs typeface="Arial"/>
              </a:rPr>
              <a:t>Be</a:t>
            </a:r>
            <a:r>
              <a:rPr sz="1403" b="1" spc="-48">
                <a:solidFill>
                  <a:srgbClr val="FFBD37"/>
                </a:solidFill>
                <a:latin typeface="Arial"/>
                <a:ea typeface="+mn-ea"/>
                <a:cs typeface="Arial"/>
              </a:rPr>
              <a:t> </a:t>
            </a:r>
            <a:r>
              <a:rPr sz="1403" b="1">
                <a:solidFill>
                  <a:srgbClr val="FFBD37"/>
                </a:solidFill>
                <a:latin typeface="Arial"/>
                <a:ea typeface="+mn-ea"/>
                <a:cs typeface="Arial"/>
              </a:rPr>
              <a:t>the</a:t>
            </a:r>
            <a:r>
              <a:rPr sz="1403" b="1" spc="-26">
                <a:solidFill>
                  <a:srgbClr val="FFBD37"/>
                </a:solidFill>
                <a:latin typeface="Arial"/>
                <a:ea typeface="+mn-ea"/>
                <a:cs typeface="Arial"/>
              </a:rPr>
              <a:t> </a:t>
            </a:r>
            <a:r>
              <a:rPr sz="1403" b="1">
                <a:solidFill>
                  <a:srgbClr val="FFBD37"/>
                </a:solidFill>
                <a:latin typeface="Arial"/>
                <a:ea typeface="+mn-ea"/>
                <a:cs typeface="Arial"/>
              </a:rPr>
              <a:t>best</a:t>
            </a:r>
            <a:r>
              <a:rPr sz="1403" b="1" spc="-35">
                <a:solidFill>
                  <a:srgbClr val="FFBD37"/>
                </a:solidFill>
                <a:latin typeface="Arial"/>
                <a:ea typeface="+mn-ea"/>
                <a:cs typeface="Arial"/>
              </a:rPr>
              <a:t> </a:t>
            </a:r>
            <a:r>
              <a:rPr sz="1403" b="1">
                <a:solidFill>
                  <a:srgbClr val="FFBD37"/>
                </a:solidFill>
                <a:latin typeface="Arial"/>
                <a:ea typeface="+mn-ea"/>
                <a:cs typeface="Arial"/>
              </a:rPr>
              <a:t>provider </a:t>
            </a:r>
            <a:r>
              <a:rPr sz="1403" b="1" spc="-22">
                <a:solidFill>
                  <a:srgbClr val="FFBD37"/>
                </a:solidFill>
                <a:latin typeface="Arial"/>
                <a:ea typeface="+mn-ea"/>
                <a:cs typeface="Arial"/>
              </a:rPr>
              <a:t>of </a:t>
            </a:r>
            <a:r>
              <a:rPr sz="1403" b="1">
                <a:solidFill>
                  <a:srgbClr val="FFBD37"/>
                </a:solidFill>
                <a:latin typeface="Arial"/>
                <a:ea typeface="+mn-ea"/>
                <a:cs typeface="Arial"/>
              </a:rPr>
              <a:t>integrated</a:t>
            </a:r>
            <a:r>
              <a:rPr sz="1403" b="1" spc="-57">
                <a:solidFill>
                  <a:srgbClr val="FFBD37"/>
                </a:solidFill>
                <a:latin typeface="Arial"/>
                <a:ea typeface="+mn-ea"/>
                <a:cs typeface="Arial"/>
              </a:rPr>
              <a:t> </a:t>
            </a:r>
            <a:r>
              <a:rPr sz="1403" b="1" spc="-9">
                <a:solidFill>
                  <a:srgbClr val="FFBD37"/>
                </a:solidFill>
                <a:latin typeface="Arial"/>
                <a:ea typeface="+mn-ea"/>
                <a:cs typeface="Arial"/>
              </a:rPr>
              <a:t>platform, </a:t>
            </a:r>
            <a:r>
              <a:rPr sz="1403" b="1">
                <a:solidFill>
                  <a:srgbClr val="FFBD37"/>
                </a:solidFill>
                <a:latin typeface="Arial"/>
                <a:ea typeface="+mn-ea"/>
                <a:cs typeface="Arial"/>
              </a:rPr>
              <a:t>technology</a:t>
            </a:r>
            <a:r>
              <a:rPr sz="1403" b="1" spc="-18">
                <a:solidFill>
                  <a:srgbClr val="FFBD37"/>
                </a:solidFill>
                <a:latin typeface="Arial"/>
                <a:ea typeface="+mn-ea"/>
                <a:cs typeface="Arial"/>
              </a:rPr>
              <a:t> </a:t>
            </a:r>
            <a:r>
              <a:rPr sz="1403" b="1">
                <a:solidFill>
                  <a:srgbClr val="FFBD37"/>
                </a:solidFill>
                <a:latin typeface="Arial"/>
                <a:ea typeface="+mn-ea"/>
                <a:cs typeface="Arial"/>
              </a:rPr>
              <a:t>and</a:t>
            </a:r>
            <a:r>
              <a:rPr sz="1403" b="1" spc="-39">
                <a:solidFill>
                  <a:srgbClr val="FFBD37"/>
                </a:solidFill>
                <a:latin typeface="Arial"/>
                <a:ea typeface="+mn-ea"/>
                <a:cs typeface="Arial"/>
              </a:rPr>
              <a:t> </a:t>
            </a:r>
            <a:r>
              <a:rPr sz="1403" b="1">
                <a:solidFill>
                  <a:srgbClr val="FFBD37"/>
                </a:solidFill>
                <a:latin typeface="Arial"/>
                <a:ea typeface="+mn-ea"/>
                <a:cs typeface="Arial"/>
              </a:rPr>
              <a:t>data</a:t>
            </a:r>
            <a:r>
              <a:rPr sz="1403" b="1" spc="-31">
                <a:solidFill>
                  <a:srgbClr val="FFBD37"/>
                </a:solidFill>
                <a:latin typeface="Arial"/>
                <a:ea typeface="+mn-ea"/>
                <a:cs typeface="Arial"/>
              </a:rPr>
              <a:t> </a:t>
            </a:r>
            <a:r>
              <a:rPr sz="1403" b="1" spc="-9">
                <a:solidFill>
                  <a:srgbClr val="FFBD37"/>
                </a:solidFill>
                <a:latin typeface="Arial"/>
                <a:ea typeface="+mn-ea"/>
                <a:cs typeface="Arial"/>
              </a:rPr>
              <a:t>solutions</a:t>
            </a:r>
            <a:endParaRPr sz="1403">
              <a:latin typeface="Arial"/>
              <a:ea typeface="+mn-ea"/>
              <a:cs typeface="Arial"/>
            </a:endParaRPr>
          </a:p>
        </p:txBody>
      </p:sp>
      <p:sp>
        <p:nvSpPr>
          <p:cNvPr id="27" name="object 27"/>
          <p:cNvSpPr txBox="1"/>
          <p:nvPr/>
        </p:nvSpPr>
        <p:spPr>
          <a:xfrm>
            <a:off x="4688052" y="3527066"/>
            <a:ext cx="952381" cy="419589"/>
          </a:xfrm>
          <a:prstGeom prst="rect">
            <a:avLst/>
          </a:prstGeom>
        </p:spPr>
        <p:txBody>
          <a:bodyPr vert="horz" wrap="square" lIns="0" tIns="34531" rIns="0" bIns="0" rtlCol="0">
            <a:spAutoFit/>
          </a:bodyPr>
          <a:lstStyle/>
          <a:p>
            <a:pPr marL="11139" marR="4456" indent="435542" algn="l" defTabSz="802020" rtl="0">
              <a:lnSpc>
                <a:spcPts val="1517"/>
              </a:lnSpc>
              <a:spcBef>
                <a:spcPts val="272"/>
              </a:spcBef>
              <a:defRPr/>
            </a:pPr>
            <a:r>
              <a:rPr sz="1403" b="1" spc="-9">
                <a:solidFill>
                  <a:srgbClr val="1F2C68"/>
                </a:solidFill>
                <a:latin typeface="Arial"/>
                <a:ea typeface="+mn-ea"/>
                <a:cs typeface="Arial"/>
              </a:rPr>
              <a:t>Client experience</a:t>
            </a:r>
            <a:endParaRPr sz="1403">
              <a:latin typeface="Arial"/>
              <a:ea typeface="+mn-ea"/>
              <a:cs typeface="Arial"/>
            </a:endParaRPr>
          </a:p>
        </p:txBody>
      </p:sp>
      <p:sp>
        <p:nvSpPr>
          <p:cNvPr id="28" name="object 28"/>
          <p:cNvSpPr txBox="1"/>
          <p:nvPr/>
        </p:nvSpPr>
        <p:spPr>
          <a:xfrm>
            <a:off x="5974714" y="3670312"/>
            <a:ext cx="1084935" cy="226578"/>
          </a:xfrm>
          <a:prstGeom prst="rect">
            <a:avLst/>
          </a:prstGeom>
        </p:spPr>
        <p:txBody>
          <a:bodyPr vert="horz" wrap="square" lIns="0" tIns="10582" rIns="0" bIns="0" rtlCol="0">
            <a:spAutoFit/>
          </a:bodyPr>
          <a:lstStyle/>
          <a:p>
            <a:pPr marL="11139" algn="l" defTabSz="802020" rtl="0">
              <a:spcBef>
                <a:spcPts val="83"/>
              </a:spcBef>
              <a:defRPr/>
            </a:pPr>
            <a:r>
              <a:rPr sz="1403" b="1" spc="-9">
                <a:solidFill>
                  <a:srgbClr val="1F2C68"/>
                </a:solidFill>
                <a:latin typeface="Arial"/>
                <a:ea typeface="+mn-ea"/>
                <a:cs typeface="Arial"/>
              </a:rPr>
              <a:t>Applications</a:t>
            </a:r>
            <a:endParaRPr sz="1403">
              <a:latin typeface="Arial"/>
              <a:ea typeface="+mn-ea"/>
              <a:cs typeface="Arial"/>
            </a:endParaRPr>
          </a:p>
        </p:txBody>
      </p:sp>
      <p:sp>
        <p:nvSpPr>
          <p:cNvPr id="29" name="object 29"/>
          <p:cNvSpPr txBox="1"/>
          <p:nvPr/>
        </p:nvSpPr>
        <p:spPr>
          <a:xfrm>
            <a:off x="4452242" y="4190614"/>
            <a:ext cx="1177388" cy="419589"/>
          </a:xfrm>
          <a:prstGeom prst="rect">
            <a:avLst/>
          </a:prstGeom>
        </p:spPr>
        <p:txBody>
          <a:bodyPr vert="horz" wrap="square" lIns="0" tIns="34531" rIns="0" bIns="0" rtlCol="0">
            <a:spAutoFit/>
          </a:bodyPr>
          <a:lstStyle/>
          <a:p>
            <a:pPr marL="11139" marR="4456" indent="590376" algn="l" defTabSz="802020" rtl="0">
              <a:lnSpc>
                <a:spcPts val="1517"/>
              </a:lnSpc>
              <a:spcBef>
                <a:spcPts val="272"/>
              </a:spcBef>
              <a:defRPr/>
            </a:pPr>
            <a:r>
              <a:rPr sz="1403" b="1">
                <a:solidFill>
                  <a:srgbClr val="1F2C68"/>
                </a:solidFill>
                <a:latin typeface="Arial"/>
                <a:ea typeface="+mn-ea"/>
                <a:cs typeface="Arial"/>
              </a:rPr>
              <a:t>Data</a:t>
            </a:r>
            <a:r>
              <a:rPr sz="1403" b="1" spc="-39">
                <a:solidFill>
                  <a:srgbClr val="1F2C68"/>
                </a:solidFill>
                <a:latin typeface="Arial"/>
                <a:ea typeface="+mn-ea"/>
                <a:cs typeface="Arial"/>
              </a:rPr>
              <a:t> </a:t>
            </a:r>
            <a:r>
              <a:rPr sz="1403" b="1" spc="-44">
                <a:solidFill>
                  <a:srgbClr val="1F2C68"/>
                </a:solidFill>
                <a:latin typeface="Arial"/>
                <a:ea typeface="+mn-ea"/>
                <a:cs typeface="Arial"/>
              </a:rPr>
              <a:t>&amp; </a:t>
            </a:r>
            <a:r>
              <a:rPr sz="1403" b="1" spc="-9">
                <a:solidFill>
                  <a:srgbClr val="1F2C68"/>
                </a:solidFill>
                <a:latin typeface="Arial"/>
                <a:ea typeface="+mn-ea"/>
                <a:cs typeface="Arial"/>
              </a:rPr>
              <a:t>infrastructure</a:t>
            </a:r>
            <a:endParaRPr sz="1403">
              <a:latin typeface="Arial"/>
              <a:ea typeface="+mn-ea"/>
              <a:cs typeface="Arial"/>
            </a:endParaRPr>
          </a:p>
        </p:txBody>
      </p:sp>
      <p:sp>
        <p:nvSpPr>
          <p:cNvPr id="30" name="object 30"/>
          <p:cNvSpPr txBox="1"/>
          <p:nvPr/>
        </p:nvSpPr>
        <p:spPr>
          <a:xfrm>
            <a:off x="5981955" y="4190614"/>
            <a:ext cx="742969" cy="421054"/>
          </a:xfrm>
          <a:prstGeom prst="rect">
            <a:avLst/>
          </a:prstGeom>
        </p:spPr>
        <p:txBody>
          <a:bodyPr vert="horz" wrap="square" lIns="0" tIns="10582" rIns="0" bIns="0" rtlCol="0">
            <a:spAutoFit/>
          </a:bodyPr>
          <a:lstStyle/>
          <a:p>
            <a:pPr marL="11139" algn="l" defTabSz="802020" rtl="0">
              <a:lnSpc>
                <a:spcPts val="1601"/>
              </a:lnSpc>
              <a:spcBef>
                <a:spcPts val="83"/>
              </a:spcBef>
              <a:defRPr/>
            </a:pPr>
            <a:r>
              <a:rPr sz="1403" b="1" spc="-9">
                <a:solidFill>
                  <a:srgbClr val="1F2C68"/>
                </a:solidFill>
                <a:latin typeface="Arial"/>
                <a:ea typeface="+mn-ea"/>
                <a:cs typeface="Arial"/>
              </a:rPr>
              <a:t>HUB24</a:t>
            </a:r>
            <a:endParaRPr sz="1403">
              <a:latin typeface="Arial"/>
              <a:ea typeface="+mn-ea"/>
              <a:cs typeface="Arial"/>
            </a:endParaRPr>
          </a:p>
          <a:p>
            <a:pPr marL="11139" algn="l" defTabSz="802020" rtl="0">
              <a:lnSpc>
                <a:spcPts val="1601"/>
              </a:lnSpc>
              <a:defRPr/>
            </a:pPr>
            <a:r>
              <a:rPr sz="1403" b="1" spc="-9">
                <a:solidFill>
                  <a:srgbClr val="1F2C68"/>
                </a:solidFill>
                <a:latin typeface="Arial"/>
                <a:ea typeface="+mn-ea"/>
                <a:cs typeface="Arial"/>
              </a:rPr>
              <a:t>Platform</a:t>
            </a:r>
            <a:endParaRPr sz="1403">
              <a:latin typeface="Arial"/>
              <a:ea typeface="+mn-ea"/>
              <a:cs typeface="Arial"/>
            </a:endParaRPr>
          </a:p>
        </p:txBody>
      </p:sp>
      <p:grpSp>
        <p:nvGrpSpPr>
          <p:cNvPr id="31" name="object 31"/>
          <p:cNvGrpSpPr/>
          <p:nvPr/>
        </p:nvGrpSpPr>
        <p:grpSpPr>
          <a:xfrm>
            <a:off x="597022" y="3003702"/>
            <a:ext cx="9698691" cy="2818156"/>
            <a:chOff x="680690" y="2545905"/>
            <a:chExt cx="11057890" cy="3213100"/>
          </a:xfrm>
        </p:grpSpPr>
        <p:pic>
          <p:nvPicPr>
            <p:cNvPr id="32" name="object 32"/>
            <p:cNvPicPr/>
            <p:nvPr/>
          </p:nvPicPr>
          <p:blipFill>
            <a:blip r:embed="rId10" cstate="print"/>
            <a:stretch>
              <a:fillRect/>
            </a:stretch>
          </p:blipFill>
          <p:spPr>
            <a:xfrm>
              <a:off x="6818122" y="2545905"/>
              <a:ext cx="955713" cy="174053"/>
            </a:xfrm>
            <a:prstGeom prst="rect">
              <a:avLst/>
            </a:prstGeom>
          </p:spPr>
        </p:pic>
        <p:pic>
          <p:nvPicPr>
            <p:cNvPr id="33" name="object 33"/>
            <p:cNvPicPr/>
            <p:nvPr/>
          </p:nvPicPr>
          <p:blipFill>
            <a:blip r:embed="rId11" cstate="print"/>
            <a:stretch>
              <a:fillRect/>
            </a:stretch>
          </p:blipFill>
          <p:spPr>
            <a:xfrm>
              <a:off x="5480557" y="2677579"/>
              <a:ext cx="887907" cy="153123"/>
            </a:xfrm>
            <a:prstGeom prst="rect">
              <a:avLst/>
            </a:prstGeom>
          </p:spPr>
        </p:pic>
        <p:sp>
          <p:nvSpPr>
            <p:cNvPr id="34" name="object 34"/>
            <p:cNvSpPr/>
            <p:nvPr/>
          </p:nvSpPr>
          <p:spPr>
            <a:xfrm>
              <a:off x="9140063" y="4848986"/>
              <a:ext cx="485775" cy="486409"/>
            </a:xfrm>
            <a:custGeom>
              <a:avLst/>
              <a:gdLst/>
              <a:ahLst/>
              <a:cxnLst/>
              <a:rect l="l" t="t" r="r" b="b"/>
              <a:pathLst>
                <a:path w="485775" h="486410">
                  <a:moveTo>
                    <a:pt x="69088" y="154051"/>
                  </a:moveTo>
                  <a:lnTo>
                    <a:pt x="64770" y="149733"/>
                  </a:lnTo>
                  <a:lnTo>
                    <a:pt x="4191" y="149733"/>
                  </a:lnTo>
                  <a:lnTo>
                    <a:pt x="0" y="154051"/>
                  </a:lnTo>
                  <a:lnTo>
                    <a:pt x="0" y="164592"/>
                  </a:lnTo>
                  <a:lnTo>
                    <a:pt x="4191" y="168783"/>
                  </a:lnTo>
                  <a:lnTo>
                    <a:pt x="64770" y="168783"/>
                  </a:lnTo>
                  <a:lnTo>
                    <a:pt x="69088" y="164592"/>
                  </a:lnTo>
                  <a:lnTo>
                    <a:pt x="69088" y="159258"/>
                  </a:lnTo>
                  <a:lnTo>
                    <a:pt x="69088" y="154051"/>
                  </a:lnTo>
                  <a:close/>
                </a:path>
                <a:path w="485775" h="486410">
                  <a:moveTo>
                    <a:pt x="71120" y="198882"/>
                  </a:moveTo>
                  <a:lnTo>
                    <a:pt x="67310" y="195199"/>
                  </a:lnTo>
                  <a:lnTo>
                    <a:pt x="63627" y="191516"/>
                  </a:lnTo>
                  <a:lnTo>
                    <a:pt x="57658" y="191516"/>
                  </a:lnTo>
                  <a:lnTo>
                    <a:pt x="53975" y="195199"/>
                  </a:lnTo>
                  <a:lnTo>
                    <a:pt x="35814" y="213360"/>
                  </a:lnTo>
                  <a:lnTo>
                    <a:pt x="35814" y="219329"/>
                  </a:lnTo>
                  <a:lnTo>
                    <a:pt x="41402" y="224917"/>
                  </a:lnTo>
                  <a:lnTo>
                    <a:pt x="43815" y="225806"/>
                  </a:lnTo>
                  <a:lnTo>
                    <a:pt x="48641" y="225806"/>
                  </a:lnTo>
                  <a:lnTo>
                    <a:pt x="51054" y="224917"/>
                  </a:lnTo>
                  <a:lnTo>
                    <a:pt x="71120" y="204851"/>
                  </a:lnTo>
                  <a:lnTo>
                    <a:pt x="71120" y="198882"/>
                  </a:lnTo>
                  <a:close/>
                </a:path>
                <a:path w="485775" h="486410">
                  <a:moveTo>
                    <a:pt x="71120" y="113665"/>
                  </a:moveTo>
                  <a:lnTo>
                    <a:pt x="67310" y="109982"/>
                  </a:lnTo>
                  <a:lnTo>
                    <a:pt x="52959" y="95504"/>
                  </a:lnTo>
                  <a:lnTo>
                    <a:pt x="49276" y="91821"/>
                  </a:lnTo>
                  <a:lnTo>
                    <a:pt x="43180" y="91821"/>
                  </a:lnTo>
                  <a:lnTo>
                    <a:pt x="35814" y="99187"/>
                  </a:lnTo>
                  <a:lnTo>
                    <a:pt x="35814" y="105283"/>
                  </a:lnTo>
                  <a:lnTo>
                    <a:pt x="55753" y="125222"/>
                  </a:lnTo>
                  <a:lnTo>
                    <a:pt x="58293" y="126238"/>
                  </a:lnTo>
                  <a:lnTo>
                    <a:pt x="63119" y="126238"/>
                  </a:lnTo>
                  <a:lnTo>
                    <a:pt x="65532" y="125222"/>
                  </a:lnTo>
                  <a:lnTo>
                    <a:pt x="71120" y="119634"/>
                  </a:lnTo>
                  <a:lnTo>
                    <a:pt x="71120" y="113665"/>
                  </a:lnTo>
                  <a:close/>
                </a:path>
                <a:path w="485775" h="486410">
                  <a:moveTo>
                    <a:pt x="322072" y="119507"/>
                  </a:moveTo>
                  <a:lnTo>
                    <a:pt x="320078" y="109651"/>
                  </a:lnTo>
                  <a:lnTo>
                    <a:pt x="314667" y="101574"/>
                  </a:lnTo>
                  <a:lnTo>
                    <a:pt x="306628" y="96113"/>
                  </a:lnTo>
                  <a:lnTo>
                    <a:pt x="303149" y="95415"/>
                  </a:lnTo>
                  <a:lnTo>
                    <a:pt x="303149" y="116078"/>
                  </a:lnTo>
                  <a:lnTo>
                    <a:pt x="303149" y="142506"/>
                  </a:lnTo>
                  <a:lnTo>
                    <a:pt x="300812" y="141859"/>
                  </a:lnTo>
                  <a:lnTo>
                    <a:pt x="301282" y="141859"/>
                  </a:lnTo>
                  <a:lnTo>
                    <a:pt x="298488" y="141478"/>
                  </a:lnTo>
                  <a:lnTo>
                    <a:pt x="293116" y="141478"/>
                  </a:lnTo>
                  <a:lnTo>
                    <a:pt x="280771" y="144005"/>
                  </a:lnTo>
                  <a:lnTo>
                    <a:pt x="281139" y="144005"/>
                  </a:lnTo>
                  <a:lnTo>
                    <a:pt x="271081" y="150863"/>
                  </a:lnTo>
                  <a:lnTo>
                    <a:pt x="264248" y="161036"/>
                  </a:lnTo>
                  <a:lnTo>
                    <a:pt x="261747" y="173482"/>
                  </a:lnTo>
                  <a:lnTo>
                    <a:pt x="264210" y="185674"/>
                  </a:lnTo>
                  <a:lnTo>
                    <a:pt x="264261" y="185940"/>
                  </a:lnTo>
                  <a:lnTo>
                    <a:pt x="271119" y="196113"/>
                  </a:lnTo>
                  <a:lnTo>
                    <a:pt x="281292" y="202971"/>
                  </a:lnTo>
                  <a:lnTo>
                    <a:pt x="293751" y="205486"/>
                  </a:lnTo>
                  <a:lnTo>
                    <a:pt x="297561" y="205486"/>
                  </a:lnTo>
                  <a:lnTo>
                    <a:pt x="300355" y="205105"/>
                  </a:lnTo>
                  <a:lnTo>
                    <a:pt x="303149" y="204343"/>
                  </a:lnTo>
                  <a:lnTo>
                    <a:pt x="303149" y="228346"/>
                  </a:lnTo>
                  <a:lnTo>
                    <a:pt x="302895" y="229362"/>
                  </a:lnTo>
                  <a:lnTo>
                    <a:pt x="302387" y="230251"/>
                  </a:lnTo>
                  <a:lnTo>
                    <a:pt x="301244" y="232410"/>
                  </a:lnTo>
                  <a:lnTo>
                    <a:pt x="299085" y="233680"/>
                  </a:lnTo>
                  <a:lnTo>
                    <a:pt x="258318" y="233680"/>
                  </a:lnTo>
                  <a:lnTo>
                    <a:pt x="253873" y="236474"/>
                  </a:lnTo>
                  <a:lnTo>
                    <a:pt x="251714" y="241046"/>
                  </a:lnTo>
                  <a:lnTo>
                    <a:pt x="249656" y="245275"/>
                  </a:lnTo>
                  <a:lnTo>
                    <a:pt x="249555" y="245491"/>
                  </a:lnTo>
                  <a:lnTo>
                    <a:pt x="249897" y="249085"/>
                  </a:lnTo>
                  <a:lnTo>
                    <a:pt x="250075" y="250736"/>
                  </a:lnTo>
                  <a:lnTo>
                    <a:pt x="253111" y="254635"/>
                  </a:lnTo>
                  <a:lnTo>
                    <a:pt x="255016" y="256921"/>
                  </a:lnTo>
                  <a:lnTo>
                    <a:pt x="255778" y="259334"/>
                  </a:lnTo>
                  <a:lnTo>
                    <a:pt x="255905" y="270764"/>
                  </a:lnTo>
                  <a:lnTo>
                    <a:pt x="250063" y="276606"/>
                  </a:lnTo>
                  <a:lnTo>
                    <a:pt x="235712" y="276606"/>
                  </a:lnTo>
                  <a:lnTo>
                    <a:pt x="229870" y="270764"/>
                  </a:lnTo>
                  <a:lnTo>
                    <a:pt x="229870" y="259715"/>
                  </a:lnTo>
                  <a:lnTo>
                    <a:pt x="230886" y="256921"/>
                  </a:lnTo>
                  <a:lnTo>
                    <a:pt x="232664" y="254635"/>
                  </a:lnTo>
                  <a:lnTo>
                    <a:pt x="235813" y="250736"/>
                  </a:lnTo>
                  <a:lnTo>
                    <a:pt x="235991" y="249085"/>
                  </a:lnTo>
                  <a:lnTo>
                    <a:pt x="236347" y="245491"/>
                  </a:lnTo>
                  <a:lnTo>
                    <a:pt x="234188" y="241046"/>
                  </a:lnTo>
                  <a:lnTo>
                    <a:pt x="232029" y="236474"/>
                  </a:lnTo>
                  <a:lnTo>
                    <a:pt x="227584" y="233680"/>
                  </a:lnTo>
                  <a:lnTo>
                    <a:pt x="185547" y="233680"/>
                  </a:lnTo>
                  <a:lnTo>
                    <a:pt x="182753" y="230886"/>
                  </a:lnTo>
                  <a:lnTo>
                    <a:pt x="182753" y="204343"/>
                  </a:lnTo>
                  <a:lnTo>
                    <a:pt x="185420" y="205105"/>
                  </a:lnTo>
                  <a:lnTo>
                    <a:pt x="188341" y="205486"/>
                  </a:lnTo>
                  <a:lnTo>
                    <a:pt x="192151" y="205486"/>
                  </a:lnTo>
                  <a:lnTo>
                    <a:pt x="197789" y="204343"/>
                  </a:lnTo>
                  <a:lnTo>
                    <a:pt x="204597" y="202971"/>
                  </a:lnTo>
                  <a:lnTo>
                    <a:pt x="214769" y="196113"/>
                  </a:lnTo>
                  <a:lnTo>
                    <a:pt x="221208" y="186563"/>
                  </a:lnTo>
                  <a:lnTo>
                    <a:pt x="221627" y="185940"/>
                  </a:lnTo>
                  <a:lnTo>
                    <a:pt x="224155" y="173482"/>
                  </a:lnTo>
                  <a:lnTo>
                    <a:pt x="221653" y="161163"/>
                  </a:lnTo>
                  <a:lnTo>
                    <a:pt x="221627" y="161036"/>
                  </a:lnTo>
                  <a:lnTo>
                    <a:pt x="192151" y="141478"/>
                  </a:lnTo>
                  <a:lnTo>
                    <a:pt x="188341" y="141478"/>
                  </a:lnTo>
                  <a:lnTo>
                    <a:pt x="185420" y="141859"/>
                  </a:lnTo>
                  <a:lnTo>
                    <a:pt x="182753" y="142621"/>
                  </a:lnTo>
                  <a:lnTo>
                    <a:pt x="182753" y="116078"/>
                  </a:lnTo>
                  <a:lnTo>
                    <a:pt x="185547" y="113157"/>
                  </a:lnTo>
                  <a:lnTo>
                    <a:pt x="227584" y="113157"/>
                  </a:lnTo>
                  <a:lnTo>
                    <a:pt x="232029" y="110363"/>
                  </a:lnTo>
                  <a:lnTo>
                    <a:pt x="234188" y="105918"/>
                  </a:lnTo>
                  <a:lnTo>
                    <a:pt x="236232" y="101574"/>
                  </a:lnTo>
                  <a:lnTo>
                    <a:pt x="236347" y="101346"/>
                  </a:lnTo>
                  <a:lnTo>
                    <a:pt x="235839" y="96266"/>
                  </a:lnTo>
                  <a:lnTo>
                    <a:pt x="232664" y="92329"/>
                  </a:lnTo>
                  <a:lnTo>
                    <a:pt x="230886" y="90043"/>
                  </a:lnTo>
                  <a:lnTo>
                    <a:pt x="229870" y="87249"/>
                  </a:lnTo>
                  <a:lnTo>
                    <a:pt x="229870" y="76073"/>
                  </a:lnTo>
                  <a:lnTo>
                    <a:pt x="235712" y="70231"/>
                  </a:lnTo>
                  <a:lnTo>
                    <a:pt x="250063" y="70231"/>
                  </a:lnTo>
                  <a:lnTo>
                    <a:pt x="255905" y="76073"/>
                  </a:lnTo>
                  <a:lnTo>
                    <a:pt x="255778" y="87630"/>
                  </a:lnTo>
                  <a:lnTo>
                    <a:pt x="255016" y="90043"/>
                  </a:lnTo>
                  <a:lnTo>
                    <a:pt x="253111" y="92329"/>
                  </a:lnTo>
                  <a:lnTo>
                    <a:pt x="250177" y="96113"/>
                  </a:lnTo>
                  <a:lnTo>
                    <a:pt x="250063" y="96266"/>
                  </a:lnTo>
                  <a:lnTo>
                    <a:pt x="249555" y="101346"/>
                  </a:lnTo>
                  <a:lnTo>
                    <a:pt x="251714" y="105918"/>
                  </a:lnTo>
                  <a:lnTo>
                    <a:pt x="253873" y="110363"/>
                  </a:lnTo>
                  <a:lnTo>
                    <a:pt x="258318" y="113157"/>
                  </a:lnTo>
                  <a:lnTo>
                    <a:pt x="300228" y="113157"/>
                  </a:lnTo>
                  <a:lnTo>
                    <a:pt x="303149" y="116078"/>
                  </a:lnTo>
                  <a:lnTo>
                    <a:pt x="303149" y="95415"/>
                  </a:lnTo>
                  <a:lnTo>
                    <a:pt x="296799" y="94107"/>
                  </a:lnTo>
                  <a:lnTo>
                    <a:pt x="273304" y="94107"/>
                  </a:lnTo>
                  <a:lnTo>
                    <a:pt x="274320" y="90932"/>
                  </a:lnTo>
                  <a:lnTo>
                    <a:pt x="274955" y="87630"/>
                  </a:lnTo>
                  <a:lnTo>
                    <a:pt x="274955" y="83312"/>
                  </a:lnTo>
                  <a:lnTo>
                    <a:pt x="242951" y="51308"/>
                  </a:lnTo>
                  <a:lnTo>
                    <a:pt x="230492" y="53835"/>
                  </a:lnTo>
                  <a:lnTo>
                    <a:pt x="220319" y="60693"/>
                  </a:lnTo>
                  <a:lnTo>
                    <a:pt x="213461" y="70866"/>
                  </a:lnTo>
                  <a:lnTo>
                    <a:pt x="210947" y="83312"/>
                  </a:lnTo>
                  <a:lnTo>
                    <a:pt x="210947" y="87630"/>
                  </a:lnTo>
                  <a:lnTo>
                    <a:pt x="211455" y="90932"/>
                  </a:lnTo>
                  <a:lnTo>
                    <a:pt x="212471" y="94107"/>
                  </a:lnTo>
                  <a:lnTo>
                    <a:pt x="189103" y="94107"/>
                  </a:lnTo>
                  <a:lnTo>
                    <a:pt x="179235" y="96113"/>
                  </a:lnTo>
                  <a:lnTo>
                    <a:pt x="171157" y="101574"/>
                  </a:lnTo>
                  <a:lnTo>
                    <a:pt x="165696" y="109651"/>
                  </a:lnTo>
                  <a:lnTo>
                    <a:pt x="163703" y="119507"/>
                  </a:lnTo>
                  <a:lnTo>
                    <a:pt x="163703" y="156845"/>
                  </a:lnTo>
                  <a:lnTo>
                    <a:pt x="166281" y="161036"/>
                  </a:lnTo>
                  <a:lnTo>
                    <a:pt x="166370" y="161163"/>
                  </a:lnTo>
                  <a:lnTo>
                    <a:pt x="170561" y="163449"/>
                  </a:lnTo>
                  <a:lnTo>
                    <a:pt x="174879" y="165735"/>
                  </a:lnTo>
                  <a:lnTo>
                    <a:pt x="179959" y="165354"/>
                  </a:lnTo>
                  <a:lnTo>
                    <a:pt x="183896" y="162687"/>
                  </a:lnTo>
                  <a:lnTo>
                    <a:pt x="186055" y="161163"/>
                  </a:lnTo>
                  <a:lnTo>
                    <a:pt x="188595" y="160401"/>
                  </a:lnTo>
                  <a:lnTo>
                    <a:pt x="199263" y="160401"/>
                  </a:lnTo>
                  <a:lnTo>
                    <a:pt x="205105" y="166243"/>
                  </a:lnTo>
                  <a:lnTo>
                    <a:pt x="205105" y="180721"/>
                  </a:lnTo>
                  <a:lnTo>
                    <a:pt x="199263" y="186563"/>
                  </a:lnTo>
                  <a:lnTo>
                    <a:pt x="188595" y="186563"/>
                  </a:lnTo>
                  <a:lnTo>
                    <a:pt x="186055" y="185674"/>
                  </a:lnTo>
                  <a:lnTo>
                    <a:pt x="183896" y="184277"/>
                  </a:lnTo>
                  <a:lnTo>
                    <a:pt x="179959" y="181610"/>
                  </a:lnTo>
                  <a:lnTo>
                    <a:pt x="174879" y="181229"/>
                  </a:lnTo>
                  <a:lnTo>
                    <a:pt x="170561" y="183515"/>
                  </a:lnTo>
                  <a:lnTo>
                    <a:pt x="166370" y="185674"/>
                  </a:lnTo>
                  <a:lnTo>
                    <a:pt x="163703" y="190119"/>
                  </a:lnTo>
                  <a:lnTo>
                    <a:pt x="163703" y="227330"/>
                  </a:lnTo>
                  <a:lnTo>
                    <a:pt x="165696" y="237197"/>
                  </a:lnTo>
                  <a:lnTo>
                    <a:pt x="171157" y="245275"/>
                  </a:lnTo>
                  <a:lnTo>
                    <a:pt x="179235" y="250736"/>
                  </a:lnTo>
                  <a:lnTo>
                    <a:pt x="189103" y="252730"/>
                  </a:lnTo>
                  <a:lnTo>
                    <a:pt x="212471" y="252730"/>
                  </a:lnTo>
                  <a:lnTo>
                    <a:pt x="211455" y="255905"/>
                  </a:lnTo>
                  <a:lnTo>
                    <a:pt x="210947" y="259334"/>
                  </a:lnTo>
                  <a:lnTo>
                    <a:pt x="210947" y="263525"/>
                  </a:lnTo>
                  <a:lnTo>
                    <a:pt x="213461" y="276047"/>
                  </a:lnTo>
                  <a:lnTo>
                    <a:pt x="220319" y="286258"/>
                  </a:lnTo>
                  <a:lnTo>
                    <a:pt x="230492" y="293141"/>
                  </a:lnTo>
                  <a:lnTo>
                    <a:pt x="242951" y="295656"/>
                  </a:lnTo>
                  <a:lnTo>
                    <a:pt x="255397" y="293141"/>
                  </a:lnTo>
                  <a:lnTo>
                    <a:pt x="265569" y="286258"/>
                  </a:lnTo>
                  <a:lnTo>
                    <a:pt x="272059" y="276606"/>
                  </a:lnTo>
                  <a:lnTo>
                    <a:pt x="272427" y="276047"/>
                  </a:lnTo>
                  <a:lnTo>
                    <a:pt x="274955" y="263525"/>
                  </a:lnTo>
                  <a:lnTo>
                    <a:pt x="274955" y="259334"/>
                  </a:lnTo>
                  <a:lnTo>
                    <a:pt x="274320" y="255905"/>
                  </a:lnTo>
                  <a:lnTo>
                    <a:pt x="273304" y="252730"/>
                  </a:lnTo>
                  <a:lnTo>
                    <a:pt x="296799" y="252730"/>
                  </a:lnTo>
                  <a:lnTo>
                    <a:pt x="322072" y="231394"/>
                  </a:lnTo>
                  <a:lnTo>
                    <a:pt x="322072" y="204343"/>
                  </a:lnTo>
                  <a:lnTo>
                    <a:pt x="322072" y="190119"/>
                  </a:lnTo>
                  <a:lnTo>
                    <a:pt x="320040" y="186563"/>
                  </a:lnTo>
                  <a:lnTo>
                    <a:pt x="319532" y="185674"/>
                  </a:lnTo>
                  <a:lnTo>
                    <a:pt x="315214" y="183515"/>
                  </a:lnTo>
                  <a:lnTo>
                    <a:pt x="311023" y="181229"/>
                  </a:lnTo>
                  <a:lnTo>
                    <a:pt x="305943" y="181483"/>
                  </a:lnTo>
                  <a:lnTo>
                    <a:pt x="302006" y="184277"/>
                  </a:lnTo>
                  <a:lnTo>
                    <a:pt x="299847" y="185674"/>
                  </a:lnTo>
                  <a:lnTo>
                    <a:pt x="296875" y="186563"/>
                  </a:lnTo>
                  <a:lnTo>
                    <a:pt x="286639" y="186563"/>
                  </a:lnTo>
                  <a:lnTo>
                    <a:pt x="280797" y="180721"/>
                  </a:lnTo>
                  <a:lnTo>
                    <a:pt x="280670" y="166243"/>
                  </a:lnTo>
                  <a:lnTo>
                    <a:pt x="286512" y="160401"/>
                  </a:lnTo>
                  <a:lnTo>
                    <a:pt x="297307" y="160401"/>
                  </a:lnTo>
                  <a:lnTo>
                    <a:pt x="299847" y="161163"/>
                  </a:lnTo>
                  <a:lnTo>
                    <a:pt x="302006" y="162687"/>
                  </a:lnTo>
                  <a:lnTo>
                    <a:pt x="305943" y="165354"/>
                  </a:lnTo>
                  <a:lnTo>
                    <a:pt x="311023" y="165608"/>
                  </a:lnTo>
                  <a:lnTo>
                    <a:pt x="315214" y="163449"/>
                  </a:lnTo>
                  <a:lnTo>
                    <a:pt x="319532" y="161163"/>
                  </a:lnTo>
                  <a:lnTo>
                    <a:pt x="319976" y="160401"/>
                  </a:lnTo>
                  <a:lnTo>
                    <a:pt x="322072" y="156845"/>
                  </a:lnTo>
                  <a:lnTo>
                    <a:pt x="322072" y="142621"/>
                  </a:lnTo>
                  <a:lnTo>
                    <a:pt x="322072" y="119507"/>
                  </a:lnTo>
                  <a:close/>
                </a:path>
                <a:path w="485775" h="486410">
                  <a:moveTo>
                    <a:pt x="358394" y="51181"/>
                  </a:moveTo>
                  <a:lnTo>
                    <a:pt x="357505" y="48768"/>
                  </a:lnTo>
                  <a:lnTo>
                    <a:pt x="355600" y="46863"/>
                  </a:lnTo>
                  <a:lnTo>
                    <a:pt x="355600" y="46736"/>
                  </a:lnTo>
                  <a:lnTo>
                    <a:pt x="351790" y="43053"/>
                  </a:lnTo>
                  <a:lnTo>
                    <a:pt x="345821" y="43053"/>
                  </a:lnTo>
                  <a:lnTo>
                    <a:pt x="340233" y="48641"/>
                  </a:lnTo>
                  <a:lnTo>
                    <a:pt x="339344" y="51054"/>
                  </a:lnTo>
                  <a:lnTo>
                    <a:pt x="339344" y="55880"/>
                  </a:lnTo>
                  <a:lnTo>
                    <a:pt x="340233" y="58293"/>
                  </a:lnTo>
                  <a:lnTo>
                    <a:pt x="342138" y="60198"/>
                  </a:lnTo>
                  <a:lnTo>
                    <a:pt x="344043" y="62103"/>
                  </a:lnTo>
                  <a:lnTo>
                    <a:pt x="346456" y="63119"/>
                  </a:lnTo>
                  <a:lnTo>
                    <a:pt x="351282" y="63119"/>
                  </a:lnTo>
                  <a:lnTo>
                    <a:pt x="353695" y="62103"/>
                  </a:lnTo>
                  <a:lnTo>
                    <a:pt x="355600" y="60325"/>
                  </a:lnTo>
                  <a:lnTo>
                    <a:pt x="357505" y="58420"/>
                  </a:lnTo>
                  <a:lnTo>
                    <a:pt x="358394" y="56007"/>
                  </a:lnTo>
                  <a:lnTo>
                    <a:pt x="358394" y="51181"/>
                  </a:lnTo>
                  <a:close/>
                </a:path>
                <a:path w="485775" h="486410">
                  <a:moveTo>
                    <a:pt x="402209" y="159639"/>
                  </a:moveTo>
                  <a:lnTo>
                    <a:pt x="396595" y="117627"/>
                  </a:lnTo>
                  <a:lnTo>
                    <a:pt x="380238" y="78740"/>
                  </a:lnTo>
                  <a:lnTo>
                    <a:pt x="371729" y="72771"/>
                  </a:lnTo>
                  <a:lnTo>
                    <a:pt x="367284" y="75311"/>
                  </a:lnTo>
                  <a:lnTo>
                    <a:pt x="362712" y="77978"/>
                  </a:lnTo>
                  <a:lnTo>
                    <a:pt x="361188" y="83820"/>
                  </a:lnTo>
                  <a:lnTo>
                    <a:pt x="363855" y="88392"/>
                  </a:lnTo>
                  <a:lnTo>
                    <a:pt x="372224" y="105054"/>
                  </a:lnTo>
                  <a:lnTo>
                    <a:pt x="378269" y="122643"/>
                  </a:lnTo>
                  <a:lnTo>
                    <a:pt x="381927" y="140919"/>
                  </a:lnTo>
                  <a:lnTo>
                    <a:pt x="383159" y="159639"/>
                  </a:lnTo>
                  <a:lnTo>
                    <a:pt x="379564" y="191490"/>
                  </a:lnTo>
                  <a:lnTo>
                    <a:pt x="369087" y="221208"/>
                  </a:lnTo>
                  <a:lnTo>
                    <a:pt x="352183" y="247840"/>
                  </a:lnTo>
                  <a:lnTo>
                    <a:pt x="329311" y="270383"/>
                  </a:lnTo>
                  <a:lnTo>
                    <a:pt x="315785" y="282867"/>
                  </a:lnTo>
                  <a:lnTo>
                    <a:pt x="304520" y="297230"/>
                  </a:lnTo>
                  <a:lnTo>
                    <a:pt x="295706" y="313194"/>
                  </a:lnTo>
                  <a:lnTo>
                    <a:pt x="289560" y="330454"/>
                  </a:lnTo>
                  <a:lnTo>
                    <a:pt x="196088" y="330454"/>
                  </a:lnTo>
                  <a:lnTo>
                    <a:pt x="189865" y="313194"/>
                  </a:lnTo>
                  <a:lnTo>
                    <a:pt x="181063" y="297230"/>
                  </a:lnTo>
                  <a:lnTo>
                    <a:pt x="169824" y="282867"/>
                  </a:lnTo>
                  <a:lnTo>
                    <a:pt x="156337" y="270383"/>
                  </a:lnTo>
                  <a:lnTo>
                    <a:pt x="133426" y="247840"/>
                  </a:lnTo>
                  <a:lnTo>
                    <a:pt x="116484" y="221208"/>
                  </a:lnTo>
                  <a:lnTo>
                    <a:pt x="105968" y="191490"/>
                  </a:lnTo>
                  <a:lnTo>
                    <a:pt x="102362" y="159639"/>
                  </a:lnTo>
                  <a:lnTo>
                    <a:pt x="109524" y="115227"/>
                  </a:lnTo>
                  <a:lnTo>
                    <a:pt x="129489" y="76631"/>
                  </a:lnTo>
                  <a:lnTo>
                    <a:pt x="159905" y="46189"/>
                  </a:lnTo>
                  <a:lnTo>
                    <a:pt x="198462" y="26225"/>
                  </a:lnTo>
                  <a:lnTo>
                    <a:pt x="242824" y="19050"/>
                  </a:lnTo>
                  <a:lnTo>
                    <a:pt x="261366" y="20281"/>
                  </a:lnTo>
                  <a:lnTo>
                    <a:pt x="279514" y="23914"/>
                  </a:lnTo>
                  <a:lnTo>
                    <a:pt x="297002" y="29883"/>
                  </a:lnTo>
                  <a:lnTo>
                    <a:pt x="313563" y="38100"/>
                  </a:lnTo>
                  <a:lnTo>
                    <a:pt x="318135" y="40767"/>
                  </a:lnTo>
                  <a:lnTo>
                    <a:pt x="323850" y="39243"/>
                  </a:lnTo>
                  <a:lnTo>
                    <a:pt x="326517" y="34671"/>
                  </a:lnTo>
                  <a:lnTo>
                    <a:pt x="329184" y="30226"/>
                  </a:lnTo>
                  <a:lnTo>
                    <a:pt x="327660" y="24384"/>
                  </a:lnTo>
                  <a:lnTo>
                    <a:pt x="284429" y="5524"/>
                  </a:lnTo>
                  <a:lnTo>
                    <a:pt x="242824" y="0"/>
                  </a:lnTo>
                  <a:lnTo>
                    <a:pt x="192430" y="8153"/>
                  </a:lnTo>
                  <a:lnTo>
                    <a:pt x="148717" y="30848"/>
                  </a:lnTo>
                  <a:lnTo>
                    <a:pt x="114223" y="65430"/>
                  </a:lnTo>
                  <a:lnTo>
                    <a:pt x="91567" y="109245"/>
                  </a:lnTo>
                  <a:lnTo>
                    <a:pt x="83439" y="159639"/>
                  </a:lnTo>
                  <a:lnTo>
                    <a:pt x="87528" y="195846"/>
                  </a:lnTo>
                  <a:lnTo>
                    <a:pt x="99466" y="229603"/>
                  </a:lnTo>
                  <a:lnTo>
                    <a:pt x="118681" y="259816"/>
                  </a:lnTo>
                  <a:lnTo>
                    <a:pt x="144653" y="285369"/>
                  </a:lnTo>
                  <a:lnTo>
                    <a:pt x="155460" y="295262"/>
                  </a:lnTo>
                  <a:lnTo>
                    <a:pt x="164553" y="306666"/>
                  </a:lnTo>
                  <a:lnTo>
                    <a:pt x="171792" y="319328"/>
                  </a:lnTo>
                  <a:lnTo>
                    <a:pt x="177038" y="332994"/>
                  </a:lnTo>
                  <a:lnTo>
                    <a:pt x="169151" y="337858"/>
                  </a:lnTo>
                  <a:lnTo>
                    <a:pt x="162966" y="344716"/>
                  </a:lnTo>
                  <a:lnTo>
                    <a:pt x="158927" y="353148"/>
                  </a:lnTo>
                  <a:lnTo>
                    <a:pt x="157480" y="362712"/>
                  </a:lnTo>
                  <a:lnTo>
                    <a:pt x="159346" y="373570"/>
                  </a:lnTo>
                  <a:lnTo>
                    <a:pt x="164503" y="382828"/>
                  </a:lnTo>
                  <a:lnTo>
                    <a:pt x="172313" y="389877"/>
                  </a:lnTo>
                  <a:lnTo>
                    <a:pt x="182118" y="394081"/>
                  </a:lnTo>
                  <a:lnTo>
                    <a:pt x="182118" y="425450"/>
                  </a:lnTo>
                  <a:lnTo>
                    <a:pt x="186880" y="449033"/>
                  </a:lnTo>
                  <a:lnTo>
                    <a:pt x="199898" y="468337"/>
                  </a:lnTo>
                  <a:lnTo>
                    <a:pt x="219189" y="481368"/>
                  </a:lnTo>
                  <a:lnTo>
                    <a:pt x="242824" y="486156"/>
                  </a:lnTo>
                  <a:lnTo>
                    <a:pt x="266395" y="481368"/>
                  </a:lnTo>
                  <a:lnTo>
                    <a:pt x="285699" y="468337"/>
                  </a:lnTo>
                  <a:lnTo>
                    <a:pt x="286435" y="467233"/>
                  </a:lnTo>
                  <a:lnTo>
                    <a:pt x="298729" y="449033"/>
                  </a:lnTo>
                  <a:lnTo>
                    <a:pt x="301612" y="434848"/>
                  </a:lnTo>
                  <a:lnTo>
                    <a:pt x="303530" y="425450"/>
                  </a:lnTo>
                  <a:lnTo>
                    <a:pt x="303530" y="415925"/>
                  </a:lnTo>
                  <a:lnTo>
                    <a:pt x="303530" y="394970"/>
                  </a:lnTo>
                  <a:lnTo>
                    <a:pt x="303530" y="394081"/>
                  </a:lnTo>
                  <a:lnTo>
                    <a:pt x="313321" y="389877"/>
                  </a:lnTo>
                  <a:lnTo>
                    <a:pt x="321132" y="382828"/>
                  </a:lnTo>
                  <a:lnTo>
                    <a:pt x="324904" y="376047"/>
                  </a:lnTo>
                  <a:lnTo>
                    <a:pt x="326288" y="373570"/>
                  </a:lnTo>
                  <a:lnTo>
                    <a:pt x="328168" y="362712"/>
                  </a:lnTo>
                  <a:lnTo>
                    <a:pt x="326707" y="353148"/>
                  </a:lnTo>
                  <a:lnTo>
                    <a:pt x="324904" y="349377"/>
                  </a:lnTo>
                  <a:lnTo>
                    <a:pt x="322668" y="344716"/>
                  </a:lnTo>
                  <a:lnTo>
                    <a:pt x="316484" y="337858"/>
                  </a:lnTo>
                  <a:lnTo>
                    <a:pt x="309118" y="333311"/>
                  </a:lnTo>
                  <a:lnTo>
                    <a:pt x="309118" y="355346"/>
                  </a:lnTo>
                  <a:lnTo>
                    <a:pt x="309118" y="370078"/>
                  </a:lnTo>
                  <a:lnTo>
                    <a:pt x="303276" y="376047"/>
                  </a:lnTo>
                  <a:lnTo>
                    <a:pt x="284480" y="376047"/>
                  </a:lnTo>
                  <a:lnTo>
                    <a:pt x="284480" y="394970"/>
                  </a:lnTo>
                  <a:lnTo>
                    <a:pt x="284480" y="415925"/>
                  </a:lnTo>
                  <a:lnTo>
                    <a:pt x="283464" y="415925"/>
                  </a:lnTo>
                  <a:lnTo>
                    <a:pt x="283464" y="434848"/>
                  </a:lnTo>
                  <a:lnTo>
                    <a:pt x="278053" y="447738"/>
                  </a:lnTo>
                  <a:lnTo>
                    <a:pt x="268897" y="458000"/>
                  </a:lnTo>
                  <a:lnTo>
                    <a:pt x="256870" y="464781"/>
                  </a:lnTo>
                  <a:lnTo>
                    <a:pt x="242824" y="467233"/>
                  </a:lnTo>
                  <a:lnTo>
                    <a:pt x="228714" y="464781"/>
                  </a:lnTo>
                  <a:lnTo>
                    <a:pt x="216687" y="458000"/>
                  </a:lnTo>
                  <a:lnTo>
                    <a:pt x="207568" y="447738"/>
                  </a:lnTo>
                  <a:lnTo>
                    <a:pt x="202184" y="434848"/>
                  </a:lnTo>
                  <a:lnTo>
                    <a:pt x="283464" y="434848"/>
                  </a:lnTo>
                  <a:lnTo>
                    <a:pt x="283464" y="415925"/>
                  </a:lnTo>
                  <a:lnTo>
                    <a:pt x="201041" y="415925"/>
                  </a:lnTo>
                  <a:lnTo>
                    <a:pt x="201041" y="394970"/>
                  </a:lnTo>
                  <a:lnTo>
                    <a:pt x="284480" y="394970"/>
                  </a:lnTo>
                  <a:lnTo>
                    <a:pt x="284480" y="376047"/>
                  </a:lnTo>
                  <a:lnTo>
                    <a:pt x="182372" y="376047"/>
                  </a:lnTo>
                  <a:lnTo>
                    <a:pt x="176403" y="370078"/>
                  </a:lnTo>
                  <a:lnTo>
                    <a:pt x="176403" y="355346"/>
                  </a:lnTo>
                  <a:lnTo>
                    <a:pt x="182372" y="349377"/>
                  </a:lnTo>
                  <a:lnTo>
                    <a:pt x="303276" y="349377"/>
                  </a:lnTo>
                  <a:lnTo>
                    <a:pt x="309118" y="355346"/>
                  </a:lnTo>
                  <a:lnTo>
                    <a:pt x="309118" y="333311"/>
                  </a:lnTo>
                  <a:lnTo>
                    <a:pt x="330136" y="295262"/>
                  </a:lnTo>
                  <a:lnTo>
                    <a:pt x="340855" y="285369"/>
                  </a:lnTo>
                  <a:lnTo>
                    <a:pt x="366839" y="259816"/>
                  </a:lnTo>
                  <a:lnTo>
                    <a:pt x="386130" y="229603"/>
                  </a:lnTo>
                  <a:lnTo>
                    <a:pt x="389115" y="221208"/>
                  </a:lnTo>
                  <a:lnTo>
                    <a:pt x="398094" y="195846"/>
                  </a:lnTo>
                  <a:lnTo>
                    <a:pt x="402209" y="159639"/>
                  </a:lnTo>
                  <a:close/>
                </a:path>
                <a:path w="485775" h="486410">
                  <a:moveTo>
                    <a:pt x="449707" y="213360"/>
                  </a:moveTo>
                  <a:lnTo>
                    <a:pt x="431546" y="195199"/>
                  </a:lnTo>
                  <a:lnTo>
                    <a:pt x="427863" y="191516"/>
                  </a:lnTo>
                  <a:lnTo>
                    <a:pt x="421894" y="191516"/>
                  </a:lnTo>
                  <a:lnTo>
                    <a:pt x="418211" y="195199"/>
                  </a:lnTo>
                  <a:lnTo>
                    <a:pt x="414401" y="198882"/>
                  </a:lnTo>
                  <a:lnTo>
                    <a:pt x="414401" y="204851"/>
                  </a:lnTo>
                  <a:lnTo>
                    <a:pt x="434467" y="224917"/>
                  </a:lnTo>
                  <a:lnTo>
                    <a:pt x="436880" y="225806"/>
                  </a:lnTo>
                  <a:lnTo>
                    <a:pt x="441706" y="225806"/>
                  </a:lnTo>
                  <a:lnTo>
                    <a:pt x="444119" y="224917"/>
                  </a:lnTo>
                  <a:lnTo>
                    <a:pt x="449707" y="219329"/>
                  </a:lnTo>
                  <a:lnTo>
                    <a:pt x="449707" y="213360"/>
                  </a:lnTo>
                  <a:close/>
                </a:path>
                <a:path w="485775" h="486410">
                  <a:moveTo>
                    <a:pt x="449707" y="99187"/>
                  </a:moveTo>
                  <a:lnTo>
                    <a:pt x="442341" y="91821"/>
                  </a:lnTo>
                  <a:lnTo>
                    <a:pt x="436245" y="91821"/>
                  </a:lnTo>
                  <a:lnTo>
                    <a:pt x="414401" y="113665"/>
                  </a:lnTo>
                  <a:lnTo>
                    <a:pt x="414401" y="119634"/>
                  </a:lnTo>
                  <a:lnTo>
                    <a:pt x="418084" y="123444"/>
                  </a:lnTo>
                  <a:lnTo>
                    <a:pt x="419989" y="125222"/>
                  </a:lnTo>
                  <a:lnTo>
                    <a:pt x="422402" y="126238"/>
                  </a:lnTo>
                  <a:lnTo>
                    <a:pt x="424815" y="126238"/>
                  </a:lnTo>
                  <a:lnTo>
                    <a:pt x="427228" y="126238"/>
                  </a:lnTo>
                  <a:lnTo>
                    <a:pt x="429641" y="125222"/>
                  </a:lnTo>
                  <a:lnTo>
                    <a:pt x="431546" y="123444"/>
                  </a:lnTo>
                  <a:lnTo>
                    <a:pt x="449707" y="105283"/>
                  </a:lnTo>
                  <a:lnTo>
                    <a:pt x="449707" y="99187"/>
                  </a:lnTo>
                  <a:close/>
                </a:path>
                <a:path w="485775" h="486410">
                  <a:moveTo>
                    <a:pt x="485521" y="154051"/>
                  </a:moveTo>
                  <a:lnTo>
                    <a:pt x="481330" y="149733"/>
                  </a:lnTo>
                  <a:lnTo>
                    <a:pt x="475996" y="149733"/>
                  </a:lnTo>
                  <a:lnTo>
                    <a:pt x="420751" y="149733"/>
                  </a:lnTo>
                  <a:lnTo>
                    <a:pt x="416433" y="154051"/>
                  </a:lnTo>
                  <a:lnTo>
                    <a:pt x="416433" y="164592"/>
                  </a:lnTo>
                  <a:lnTo>
                    <a:pt x="420751" y="168783"/>
                  </a:lnTo>
                  <a:lnTo>
                    <a:pt x="481330" y="168783"/>
                  </a:lnTo>
                  <a:lnTo>
                    <a:pt x="485521" y="164592"/>
                  </a:lnTo>
                  <a:lnTo>
                    <a:pt x="485521" y="154051"/>
                  </a:lnTo>
                  <a:close/>
                </a:path>
              </a:pathLst>
            </a:custGeom>
            <a:solidFill>
              <a:srgbClr val="FFBD37"/>
            </a:solidFill>
          </p:spPr>
          <p:txBody>
            <a:bodyPr wrap="square" lIns="0" tIns="0" rIns="0" bIns="0" rtlCol="0"/>
            <a:lstStyle/>
            <a:p>
              <a:pPr algn="l" defTabSz="802020" rtl="0">
                <a:defRPr/>
              </a:pPr>
              <a:endParaRPr sz="1579">
                <a:latin typeface="Calibri"/>
                <a:ea typeface="+mn-ea"/>
                <a:cs typeface="+mn-cs"/>
              </a:endParaRPr>
            </a:p>
          </p:txBody>
        </p:sp>
        <p:sp>
          <p:nvSpPr>
            <p:cNvPr id="35" name="object 35"/>
            <p:cNvSpPr/>
            <p:nvPr/>
          </p:nvSpPr>
          <p:spPr>
            <a:xfrm>
              <a:off x="9105899" y="4556760"/>
              <a:ext cx="2632710" cy="0"/>
            </a:xfrm>
            <a:custGeom>
              <a:avLst/>
              <a:gdLst/>
              <a:ahLst/>
              <a:cxnLst/>
              <a:rect l="l" t="t" r="r" b="b"/>
              <a:pathLst>
                <a:path w="2632709">
                  <a:moveTo>
                    <a:pt x="0" y="0"/>
                  </a:moveTo>
                  <a:lnTo>
                    <a:pt x="2632329" y="0"/>
                  </a:lnTo>
                </a:path>
              </a:pathLst>
            </a:custGeom>
            <a:ln w="6350">
              <a:solidFill>
                <a:srgbClr val="FFBD37"/>
              </a:solidFill>
            </a:ln>
          </p:spPr>
          <p:txBody>
            <a:bodyPr wrap="square" lIns="0" tIns="0" rIns="0" bIns="0" rtlCol="0"/>
            <a:lstStyle/>
            <a:p>
              <a:pPr algn="l" defTabSz="802020" rtl="0">
                <a:defRPr/>
              </a:pPr>
              <a:endParaRPr sz="1579">
                <a:latin typeface="Calibri"/>
                <a:ea typeface="+mn-ea"/>
                <a:cs typeface="+mn-cs"/>
              </a:endParaRPr>
            </a:p>
          </p:txBody>
        </p:sp>
        <p:pic>
          <p:nvPicPr>
            <p:cNvPr id="36" name="object 36"/>
            <p:cNvPicPr/>
            <p:nvPr/>
          </p:nvPicPr>
          <p:blipFill>
            <a:blip r:embed="rId12" cstate="print"/>
            <a:stretch>
              <a:fillRect/>
            </a:stretch>
          </p:blipFill>
          <p:spPr>
            <a:xfrm>
              <a:off x="680690" y="4392849"/>
              <a:ext cx="391038" cy="398361"/>
            </a:xfrm>
            <a:prstGeom prst="rect">
              <a:avLst/>
            </a:prstGeom>
          </p:spPr>
        </p:pic>
        <p:sp>
          <p:nvSpPr>
            <p:cNvPr id="37" name="object 37"/>
            <p:cNvSpPr/>
            <p:nvPr/>
          </p:nvSpPr>
          <p:spPr>
            <a:xfrm>
              <a:off x="708177" y="2667698"/>
              <a:ext cx="372110" cy="2124075"/>
            </a:xfrm>
            <a:custGeom>
              <a:avLst/>
              <a:gdLst/>
              <a:ahLst/>
              <a:cxnLst/>
              <a:rect l="l" t="t" r="r" b="b"/>
              <a:pathLst>
                <a:path w="372109" h="2124075">
                  <a:moveTo>
                    <a:pt x="370878" y="2020125"/>
                  </a:moveTo>
                  <a:lnTo>
                    <a:pt x="368465" y="2017687"/>
                  </a:lnTo>
                  <a:lnTo>
                    <a:pt x="349504" y="1998726"/>
                  </a:lnTo>
                  <a:lnTo>
                    <a:pt x="346430" y="1995652"/>
                  </a:lnTo>
                  <a:lnTo>
                    <a:pt x="333933" y="1983155"/>
                  </a:lnTo>
                  <a:lnTo>
                    <a:pt x="329946" y="1983155"/>
                  </a:lnTo>
                  <a:lnTo>
                    <a:pt x="317449" y="1995652"/>
                  </a:lnTo>
                  <a:lnTo>
                    <a:pt x="308673" y="1986876"/>
                  </a:lnTo>
                  <a:lnTo>
                    <a:pt x="308673" y="2004428"/>
                  </a:lnTo>
                  <a:lnTo>
                    <a:pt x="256387" y="2056714"/>
                  </a:lnTo>
                  <a:lnTo>
                    <a:pt x="225386" y="2025713"/>
                  </a:lnTo>
                  <a:lnTo>
                    <a:pt x="223888" y="2025065"/>
                  </a:lnTo>
                  <a:lnTo>
                    <a:pt x="171932" y="2023465"/>
                  </a:lnTo>
                  <a:lnTo>
                    <a:pt x="168313" y="2023465"/>
                  </a:lnTo>
                  <a:lnTo>
                    <a:pt x="164338" y="2021763"/>
                  </a:lnTo>
                  <a:lnTo>
                    <a:pt x="114338" y="1971763"/>
                  </a:lnTo>
                  <a:lnTo>
                    <a:pt x="133146" y="1965261"/>
                  </a:lnTo>
                  <a:lnTo>
                    <a:pt x="141820" y="1967255"/>
                  </a:lnTo>
                  <a:lnTo>
                    <a:pt x="166547" y="1991931"/>
                  </a:lnTo>
                  <a:lnTo>
                    <a:pt x="170484" y="1991931"/>
                  </a:lnTo>
                  <a:lnTo>
                    <a:pt x="175323" y="1987080"/>
                  </a:lnTo>
                  <a:lnTo>
                    <a:pt x="175323" y="1983155"/>
                  </a:lnTo>
                  <a:lnTo>
                    <a:pt x="157429" y="1965261"/>
                  </a:lnTo>
                  <a:lnTo>
                    <a:pt x="90398" y="1898230"/>
                  </a:lnTo>
                  <a:lnTo>
                    <a:pt x="90398" y="1893049"/>
                  </a:lnTo>
                  <a:lnTo>
                    <a:pt x="93522" y="1889912"/>
                  </a:lnTo>
                  <a:lnTo>
                    <a:pt x="96697" y="1886775"/>
                  </a:lnTo>
                  <a:lnTo>
                    <a:pt x="101790" y="1886775"/>
                  </a:lnTo>
                  <a:lnTo>
                    <a:pt x="104902" y="1889912"/>
                  </a:lnTo>
                  <a:lnTo>
                    <a:pt x="153911" y="1938921"/>
                  </a:lnTo>
                  <a:lnTo>
                    <a:pt x="157835" y="1938921"/>
                  </a:lnTo>
                  <a:lnTo>
                    <a:pt x="162674" y="1934083"/>
                  </a:lnTo>
                  <a:lnTo>
                    <a:pt x="162674" y="1930146"/>
                  </a:lnTo>
                  <a:lnTo>
                    <a:pt x="119316" y="1886775"/>
                  </a:lnTo>
                  <a:lnTo>
                    <a:pt x="110578" y="1878037"/>
                  </a:lnTo>
                  <a:lnTo>
                    <a:pt x="110591" y="1872957"/>
                  </a:lnTo>
                  <a:lnTo>
                    <a:pt x="112941" y="1870519"/>
                  </a:lnTo>
                  <a:lnTo>
                    <a:pt x="116979" y="1866480"/>
                  </a:lnTo>
                  <a:lnTo>
                    <a:pt x="122148" y="1866480"/>
                  </a:lnTo>
                  <a:lnTo>
                    <a:pt x="125463" y="1869782"/>
                  </a:lnTo>
                  <a:lnTo>
                    <a:pt x="174078" y="1918754"/>
                  </a:lnTo>
                  <a:lnTo>
                    <a:pt x="178015" y="1918754"/>
                  </a:lnTo>
                  <a:lnTo>
                    <a:pt x="182867" y="1913902"/>
                  </a:lnTo>
                  <a:lnTo>
                    <a:pt x="182867" y="1909965"/>
                  </a:lnTo>
                  <a:lnTo>
                    <a:pt x="142646" y="1869782"/>
                  </a:lnTo>
                  <a:lnTo>
                    <a:pt x="142646" y="1866480"/>
                  </a:lnTo>
                  <a:lnTo>
                    <a:pt x="142646" y="1864588"/>
                  </a:lnTo>
                  <a:lnTo>
                    <a:pt x="147739" y="1859483"/>
                  </a:lnTo>
                  <a:lnTo>
                    <a:pt x="149021" y="1858187"/>
                  </a:lnTo>
                  <a:lnTo>
                    <a:pt x="154228" y="1858187"/>
                  </a:lnTo>
                  <a:lnTo>
                    <a:pt x="194437" y="1898396"/>
                  </a:lnTo>
                  <a:lnTo>
                    <a:pt x="198374" y="1898396"/>
                  </a:lnTo>
                  <a:lnTo>
                    <a:pt x="203212" y="1893544"/>
                  </a:lnTo>
                  <a:lnTo>
                    <a:pt x="203212" y="1889620"/>
                  </a:lnTo>
                  <a:lnTo>
                    <a:pt x="178650" y="1865045"/>
                  </a:lnTo>
                  <a:lnTo>
                    <a:pt x="178727" y="1862442"/>
                  </a:lnTo>
                  <a:lnTo>
                    <a:pt x="178828" y="1859114"/>
                  </a:lnTo>
                  <a:lnTo>
                    <a:pt x="179755" y="1858187"/>
                  </a:lnTo>
                  <a:lnTo>
                    <a:pt x="182981" y="1854962"/>
                  </a:lnTo>
                  <a:lnTo>
                    <a:pt x="185000" y="1852955"/>
                  </a:lnTo>
                  <a:lnTo>
                    <a:pt x="190652" y="1853196"/>
                  </a:lnTo>
                  <a:lnTo>
                    <a:pt x="270116" y="1932673"/>
                  </a:lnTo>
                  <a:lnTo>
                    <a:pt x="276275" y="1971446"/>
                  </a:lnTo>
                  <a:lnTo>
                    <a:pt x="276885" y="1972640"/>
                  </a:lnTo>
                  <a:lnTo>
                    <a:pt x="308673" y="2004428"/>
                  </a:lnTo>
                  <a:lnTo>
                    <a:pt x="308673" y="1986876"/>
                  </a:lnTo>
                  <a:lnTo>
                    <a:pt x="288010" y="1966214"/>
                  </a:lnTo>
                  <a:lnTo>
                    <a:pt x="281851" y="1927440"/>
                  </a:lnTo>
                  <a:lnTo>
                    <a:pt x="281241" y="1926247"/>
                  </a:lnTo>
                  <a:lnTo>
                    <a:pt x="207949" y="1852955"/>
                  </a:lnTo>
                  <a:lnTo>
                    <a:pt x="202780" y="1847773"/>
                  </a:lnTo>
                  <a:lnTo>
                    <a:pt x="195808" y="1843138"/>
                  </a:lnTo>
                  <a:lnTo>
                    <a:pt x="187858" y="1841500"/>
                  </a:lnTo>
                  <a:lnTo>
                    <a:pt x="179946" y="1842858"/>
                  </a:lnTo>
                  <a:lnTo>
                    <a:pt x="173139" y="1847265"/>
                  </a:lnTo>
                  <a:lnTo>
                    <a:pt x="171005" y="1849399"/>
                  </a:lnTo>
                  <a:lnTo>
                    <a:pt x="169405" y="1852002"/>
                  </a:lnTo>
                  <a:lnTo>
                    <a:pt x="168452" y="1854873"/>
                  </a:lnTo>
                  <a:lnTo>
                    <a:pt x="166204" y="1852612"/>
                  </a:lnTo>
                  <a:lnTo>
                    <a:pt x="159397" y="1848091"/>
                  </a:lnTo>
                  <a:lnTo>
                    <a:pt x="151638" y="1846580"/>
                  </a:lnTo>
                  <a:lnTo>
                    <a:pt x="143891" y="1848091"/>
                  </a:lnTo>
                  <a:lnTo>
                    <a:pt x="137071" y="1852612"/>
                  </a:lnTo>
                  <a:lnTo>
                    <a:pt x="135115" y="1854568"/>
                  </a:lnTo>
                  <a:lnTo>
                    <a:pt x="133578" y="1856905"/>
                  </a:lnTo>
                  <a:lnTo>
                    <a:pt x="132562" y="1859483"/>
                  </a:lnTo>
                  <a:lnTo>
                    <a:pt x="125323" y="1855673"/>
                  </a:lnTo>
                  <a:lnTo>
                    <a:pt x="98971" y="1875180"/>
                  </a:lnTo>
                  <a:lnTo>
                    <a:pt x="93662" y="1875180"/>
                  </a:lnTo>
                  <a:lnTo>
                    <a:pt x="88557" y="1877301"/>
                  </a:lnTo>
                  <a:lnTo>
                    <a:pt x="84810" y="1881073"/>
                  </a:lnTo>
                  <a:lnTo>
                    <a:pt x="80289" y="1887893"/>
                  </a:lnTo>
                  <a:lnTo>
                    <a:pt x="78790" y="1895640"/>
                  </a:lnTo>
                  <a:lnTo>
                    <a:pt x="80289" y="1903387"/>
                  </a:lnTo>
                  <a:lnTo>
                    <a:pt x="84810" y="1910207"/>
                  </a:lnTo>
                  <a:lnTo>
                    <a:pt x="129146" y="1954542"/>
                  </a:lnTo>
                  <a:lnTo>
                    <a:pt x="126453" y="1954784"/>
                  </a:lnTo>
                  <a:lnTo>
                    <a:pt x="123799" y="1955342"/>
                  </a:lnTo>
                  <a:lnTo>
                    <a:pt x="103162" y="1962505"/>
                  </a:lnTo>
                  <a:lnTo>
                    <a:pt x="99910" y="1969211"/>
                  </a:lnTo>
                  <a:lnTo>
                    <a:pt x="102628" y="1977021"/>
                  </a:lnTo>
                  <a:lnTo>
                    <a:pt x="103581" y="1978545"/>
                  </a:lnTo>
                  <a:lnTo>
                    <a:pt x="157797" y="2032774"/>
                  </a:lnTo>
                  <a:lnTo>
                    <a:pt x="164503" y="2035670"/>
                  </a:lnTo>
                  <a:lnTo>
                    <a:pt x="219468" y="2037359"/>
                  </a:lnTo>
                  <a:lnTo>
                    <a:pt x="247611" y="2065489"/>
                  </a:lnTo>
                  <a:lnTo>
                    <a:pt x="230428" y="2082673"/>
                  </a:lnTo>
                  <a:lnTo>
                    <a:pt x="230428" y="2086597"/>
                  </a:lnTo>
                  <a:lnTo>
                    <a:pt x="267360" y="2123529"/>
                  </a:lnTo>
                  <a:lnTo>
                    <a:pt x="271284" y="2123529"/>
                  </a:lnTo>
                  <a:lnTo>
                    <a:pt x="276136" y="2118677"/>
                  </a:lnTo>
                  <a:lnTo>
                    <a:pt x="276136" y="2114753"/>
                  </a:lnTo>
                  <a:lnTo>
                    <a:pt x="246024" y="2084641"/>
                  </a:lnTo>
                  <a:lnTo>
                    <a:pt x="273951" y="2056714"/>
                  </a:lnTo>
                  <a:lnTo>
                    <a:pt x="331939" y="1998726"/>
                  </a:lnTo>
                  <a:lnTo>
                    <a:pt x="359638" y="2026424"/>
                  </a:lnTo>
                  <a:lnTo>
                    <a:pt x="362064" y="2028875"/>
                  </a:lnTo>
                  <a:lnTo>
                    <a:pt x="365975" y="2028875"/>
                  </a:lnTo>
                  <a:lnTo>
                    <a:pt x="370852" y="2024062"/>
                  </a:lnTo>
                  <a:lnTo>
                    <a:pt x="370878" y="2020125"/>
                  </a:lnTo>
                  <a:close/>
                </a:path>
                <a:path w="372109" h="2124075">
                  <a:moveTo>
                    <a:pt x="372110" y="35128"/>
                  </a:moveTo>
                  <a:lnTo>
                    <a:pt x="371932" y="33451"/>
                  </a:lnTo>
                  <a:lnTo>
                    <a:pt x="371868" y="32956"/>
                  </a:lnTo>
                  <a:lnTo>
                    <a:pt x="371792" y="32258"/>
                  </a:lnTo>
                  <a:lnTo>
                    <a:pt x="371729" y="31686"/>
                  </a:lnTo>
                  <a:lnTo>
                    <a:pt x="371627" y="30734"/>
                  </a:lnTo>
                  <a:lnTo>
                    <a:pt x="371144" y="26301"/>
                  </a:lnTo>
                  <a:lnTo>
                    <a:pt x="362610" y="19481"/>
                  </a:lnTo>
                  <a:lnTo>
                    <a:pt x="359524" y="18389"/>
                  </a:lnTo>
                  <a:lnTo>
                    <a:pt x="221919" y="18389"/>
                  </a:lnTo>
                  <a:lnTo>
                    <a:pt x="219760" y="12217"/>
                  </a:lnTo>
                  <a:lnTo>
                    <a:pt x="219087" y="10312"/>
                  </a:lnTo>
                  <a:lnTo>
                    <a:pt x="213575" y="4152"/>
                  </a:lnTo>
                  <a:lnTo>
                    <a:pt x="209867" y="2336"/>
                  </a:lnTo>
                  <a:lnTo>
                    <a:pt x="209867" y="16370"/>
                  </a:lnTo>
                  <a:lnTo>
                    <a:pt x="209867" y="209727"/>
                  </a:lnTo>
                  <a:lnTo>
                    <a:pt x="191350" y="209727"/>
                  </a:lnTo>
                  <a:lnTo>
                    <a:pt x="191350" y="185039"/>
                  </a:lnTo>
                  <a:lnTo>
                    <a:pt x="191350" y="16370"/>
                  </a:lnTo>
                  <a:lnTo>
                    <a:pt x="195503" y="12217"/>
                  </a:lnTo>
                  <a:lnTo>
                    <a:pt x="205727" y="12217"/>
                  </a:lnTo>
                  <a:lnTo>
                    <a:pt x="209867" y="16370"/>
                  </a:lnTo>
                  <a:lnTo>
                    <a:pt x="209867" y="2336"/>
                  </a:lnTo>
                  <a:lnTo>
                    <a:pt x="206159" y="520"/>
                  </a:lnTo>
                  <a:lnTo>
                    <a:pt x="197612" y="0"/>
                  </a:lnTo>
                  <a:lnTo>
                    <a:pt x="190182" y="2451"/>
                  </a:lnTo>
                  <a:lnTo>
                    <a:pt x="184264" y="7239"/>
                  </a:lnTo>
                  <a:lnTo>
                    <a:pt x="180378" y="13766"/>
                  </a:lnTo>
                  <a:lnTo>
                    <a:pt x="179006" y="21475"/>
                  </a:lnTo>
                  <a:lnTo>
                    <a:pt x="179006" y="172694"/>
                  </a:lnTo>
                  <a:lnTo>
                    <a:pt x="158102" y="172694"/>
                  </a:lnTo>
                  <a:lnTo>
                    <a:pt x="98882" y="213245"/>
                  </a:lnTo>
                  <a:lnTo>
                    <a:pt x="92379" y="215938"/>
                  </a:lnTo>
                  <a:lnTo>
                    <a:pt x="18364" y="215938"/>
                  </a:lnTo>
                  <a:lnTo>
                    <a:pt x="11303" y="217360"/>
                  </a:lnTo>
                  <a:lnTo>
                    <a:pt x="5422" y="221322"/>
                  </a:lnTo>
                  <a:lnTo>
                    <a:pt x="1447" y="227215"/>
                  </a:lnTo>
                  <a:lnTo>
                    <a:pt x="0" y="234416"/>
                  </a:lnTo>
                  <a:lnTo>
                    <a:pt x="0" y="326999"/>
                  </a:lnTo>
                  <a:lnTo>
                    <a:pt x="1447" y="334213"/>
                  </a:lnTo>
                  <a:lnTo>
                    <a:pt x="5422" y="340093"/>
                  </a:lnTo>
                  <a:lnTo>
                    <a:pt x="11303" y="344068"/>
                  </a:lnTo>
                  <a:lnTo>
                    <a:pt x="18554" y="345528"/>
                  </a:lnTo>
                  <a:lnTo>
                    <a:pt x="93916" y="345528"/>
                  </a:lnTo>
                  <a:lnTo>
                    <a:pt x="99377" y="347192"/>
                  </a:lnTo>
                  <a:lnTo>
                    <a:pt x="130352" y="367830"/>
                  </a:lnTo>
                  <a:lnTo>
                    <a:pt x="138214" y="370205"/>
                  </a:lnTo>
                  <a:lnTo>
                    <a:pt x="239737" y="370205"/>
                  </a:lnTo>
                  <a:lnTo>
                    <a:pt x="249275" y="368528"/>
                  </a:lnTo>
                  <a:lnTo>
                    <a:pt x="257238" y="363613"/>
                  </a:lnTo>
                  <a:lnTo>
                    <a:pt x="261442" y="358025"/>
                  </a:lnTo>
                  <a:lnTo>
                    <a:pt x="262826" y="356196"/>
                  </a:lnTo>
                  <a:lnTo>
                    <a:pt x="263753" y="352933"/>
                  </a:lnTo>
                  <a:lnTo>
                    <a:pt x="265315" y="347192"/>
                  </a:lnTo>
                  <a:lnTo>
                    <a:pt x="265430" y="346798"/>
                  </a:lnTo>
                  <a:lnTo>
                    <a:pt x="265493" y="345528"/>
                  </a:lnTo>
                  <a:lnTo>
                    <a:pt x="265569" y="344068"/>
                  </a:lnTo>
                  <a:lnTo>
                    <a:pt x="265671" y="341934"/>
                  </a:lnTo>
                  <a:lnTo>
                    <a:pt x="264477" y="337108"/>
                  </a:lnTo>
                  <a:lnTo>
                    <a:pt x="262001" y="332917"/>
                  </a:lnTo>
                  <a:lnTo>
                    <a:pt x="270154" y="330415"/>
                  </a:lnTo>
                  <a:lnTo>
                    <a:pt x="274815" y="326999"/>
                  </a:lnTo>
                  <a:lnTo>
                    <a:pt x="277126" y="325272"/>
                  </a:lnTo>
                  <a:lnTo>
                    <a:pt x="279984" y="320992"/>
                  </a:lnTo>
                  <a:lnTo>
                    <a:pt x="281838" y="318223"/>
                  </a:lnTo>
                  <a:lnTo>
                    <a:pt x="283946" y="309753"/>
                  </a:lnTo>
                  <a:lnTo>
                    <a:pt x="284149" y="305714"/>
                  </a:lnTo>
                  <a:lnTo>
                    <a:pt x="284226" y="304368"/>
                  </a:lnTo>
                  <a:lnTo>
                    <a:pt x="282714" y="299021"/>
                  </a:lnTo>
                  <a:lnTo>
                    <a:pt x="279666" y="294563"/>
                  </a:lnTo>
                  <a:lnTo>
                    <a:pt x="288074" y="289699"/>
                  </a:lnTo>
                  <a:lnTo>
                    <a:pt x="292442" y="283972"/>
                  </a:lnTo>
                  <a:lnTo>
                    <a:pt x="293763" y="282244"/>
                  </a:lnTo>
                  <a:lnTo>
                    <a:pt x="296240" y="273202"/>
                  </a:lnTo>
                  <a:lnTo>
                    <a:pt x="295021" y="263563"/>
                  </a:lnTo>
                  <a:lnTo>
                    <a:pt x="294043" y="260642"/>
                  </a:lnTo>
                  <a:lnTo>
                    <a:pt x="292506" y="257937"/>
                  </a:lnTo>
                  <a:lnTo>
                    <a:pt x="290525" y="255587"/>
                  </a:lnTo>
                  <a:lnTo>
                    <a:pt x="292392" y="254457"/>
                  </a:lnTo>
                  <a:lnTo>
                    <a:pt x="294119" y="253072"/>
                  </a:lnTo>
                  <a:lnTo>
                    <a:pt x="300355" y="246557"/>
                  </a:lnTo>
                  <a:lnTo>
                    <a:pt x="302831" y="239903"/>
                  </a:lnTo>
                  <a:lnTo>
                    <a:pt x="302539" y="234416"/>
                  </a:lnTo>
                  <a:lnTo>
                    <a:pt x="302463" y="233083"/>
                  </a:lnTo>
                  <a:lnTo>
                    <a:pt x="299910" y="223761"/>
                  </a:lnTo>
                  <a:lnTo>
                    <a:pt x="298627" y="222072"/>
                  </a:lnTo>
                  <a:lnTo>
                    <a:pt x="298513" y="221919"/>
                  </a:lnTo>
                  <a:lnTo>
                    <a:pt x="294259" y="216293"/>
                  </a:lnTo>
                  <a:lnTo>
                    <a:pt x="290309" y="213868"/>
                  </a:lnTo>
                  <a:lnTo>
                    <a:pt x="290309" y="237147"/>
                  </a:lnTo>
                  <a:lnTo>
                    <a:pt x="289064" y="240499"/>
                  </a:lnTo>
                  <a:lnTo>
                    <a:pt x="284378" y="245414"/>
                  </a:lnTo>
                  <a:lnTo>
                    <a:pt x="281139" y="246786"/>
                  </a:lnTo>
                  <a:lnTo>
                    <a:pt x="268173" y="246786"/>
                  </a:lnTo>
                  <a:lnTo>
                    <a:pt x="265430" y="249529"/>
                  </a:lnTo>
                  <a:lnTo>
                    <a:pt x="265430" y="256349"/>
                  </a:lnTo>
                  <a:lnTo>
                    <a:pt x="268185" y="259105"/>
                  </a:lnTo>
                  <a:lnTo>
                    <a:pt x="275018" y="259105"/>
                  </a:lnTo>
                  <a:lnTo>
                    <a:pt x="278206" y="260464"/>
                  </a:lnTo>
                  <a:lnTo>
                    <a:pt x="282867" y="265366"/>
                  </a:lnTo>
                  <a:lnTo>
                    <a:pt x="284111" y="268681"/>
                  </a:lnTo>
                  <a:lnTo>
                    <a:pt x="283946" y="272072"/>
                  </a:lnTo>
                  <a:lnTo>
                    <a:pt x="283235" y="278866"/>
                  </a:lnTo>
                  <a:lnTo>
                    <a:pt x="277406" y="283972"/>
                  </a:lnTo>
                  <a:lnTo>
                    <a:pt x="270586" y="283794"/>
                  </a:lnTo>
                  <a:lnTo>
                    <a:pt x="255841" y="283794"/>
                  </a:lnTo>
                  <a:lnTo>
                    <a:pt x="253085" y="286562"/>
                  </a:lnTo>
                  <a:lnTo>
                    <a:pt x="253085" y="293382"/>
                  </a:lnTo>
                  <a:lnTo>
                    <a:pt x="255841" y="296138"/>
                  </a:lnTo>
                  <a:lnTo>
                    <a:pt x="262674" y="296138"/>
                  </a:lnTo>
                  <a:lnTo>
                    <a:pt x="265861" y="297510"/>
                  </a:lnTo>
                  <a:lnTo>
                    <a:pt x="270522" y="302399"/>
                  </a:lnTo>
                  <a:lnTo>
                    <a:pt x="271767" y="305714"/>
                  </a:lnTo>
                  <a:lnTo>
                    <a:pt x="271602" y="309105"/>
                  </a:lnTo>
                  <a:lnTo>
                    <a:pt x="270878" y="315887"/>
                  </a:lnTo>
                  <a:lnTo>
                    <a:pt x="265074" y="320992"/>
                  </a:lnTo>
                  <a:lnTo>
                    <a:pt x="258254" y="320827"/>
                  </a:lnTo>
                  <a:lnTo>
                    <a:pt x="237324" y="320827"/>
                  </a:lnTo>
                  <a:lnTo>
                    <a:pt x="234569" y="323596"/>
                  </a:lnTo>
                  <a:lnTo>
                    <a:pt x="234569" y="330415"/>
                  </a:lnTo>
                  <a:lnTo>
                    <a:pt x="237324" y="333184"/>
                  </a:lnTo>
                  <a:lnTo>
                    <a:pt x="244170" y="333184"/>
                  </a:lnTo>
                  <a:lnTo>
                    <a:pt x="247345" y="334543"/>
                  </a:lnTo>
                  <a:lnTo>
                    <a:pt x="252006" y="339445"/>
                  </a:lnTo>
                  <a:lnTo>
                    <a:pt x="253250" y="342747"/>
                  </a:lnTo>
                  <a:lnTo>
                    <a:pt x="253187" y="344068"/>
                  </a:lnTo>
                  <a:lnTo>
                    <a:pt x="253085" y="346138"/>
                  </a:lnTo>
                  <a:lnTo>
                    <a:pt x="252374" y="352933"/>
                  </a:lnTo>
                  <a:lnTo>
                    <a:pt x="246557" y="358025"/>
                  </a:lnTo>
                  <a:lnTo>
                    <a:pt x="239737" y="357860"/>
                  </a:lnTo>
                  <a:lnTo>
                    <a:pt x="140652" y="357860"/>
                  </a:lnTo>
                  <a:lnTo>
                    <a:pt x="135166" y="356196"/>
                  </a:lnTo>
                  <a:lnTo>
                    <a:pt x="104203" y="335559"/>
                  </a:lnTo>
                  <a:lnTo>
                    <a:pt x="96354" y="333184"/>
                  </a:lnTo>
                  <a:lnTo>
                    <a:pt x="15113" y="333184"/>
                  </a:lnTo>
                  <a:lnTo>
                    <a:pt x="12344" y="330415"/>
                  </a:lnTo>
                  <a:lnTo>
                    <a:pt x="12344" y="231013"/>
                  </a:lnTo>
                  <a:lnTo>
                    <a:pt x="15113" y="228244"/>
                  </a:lnTo>
                  <a:lnTo>
                    <a:pt x="85610" y="228244"/>
                  </a:lnTo>
                  <a:lnTo>
                    <a:pt x="93027" y="227533"/>
                  </a:lnTo>
                  <a:lnTo>
                    <a:pt x="100101" y="225399"/>
                  </a:lnTo>
                  <a:lnTo>
                    <a:pt x="106616" y="221919"/>
                  </a:lnTo>
                  <a:lnTo>
                    <a:pt x="112382" y="217182"/>
                  </a:lnTo>
                  <a:lnTo>
                    <a:pt x="141046" y="188480"/>
                  </a:lnTo>
                  <a:lnTo>
                    <a:pt x="149339" y="185039"/>
                  </a:lnTo>
                  <a:lnTo>
                    <a:pt x="179006" y="185039"/>
                  </a:lnTo>
                  <a:lnTo>
                    <a:pt x="179006" y="209727"/>
                  </a:lnTo>
                  <a:lnTo>
                    <a:pt x="163245" y="209727"/>
                  </a:lnTo>
                  <a:lnTo>
                    <a:pt x="160489" y="212496"/>
                  </a:lnTo>
                  <a:lnTo>
                    <a:pt x="160489" y="219316"/>
                  </a:lnTo>
                  <a:lnTo>
                    <a:pt x="163245" y="222072"/>
                  </a:lnTo>
                  <a:lnTo>
                    <a:pt x="276771" y="222072"/>
                  </a:lnTo>
                  <a:lnTo>
                    <a:pt x="282879" y="221919"/>
                  </a:lnTo>
                  <a:lnTo>
                    <a:pt x="283591" y="221919"/>
                  </a:lnTo>
                  <a:lnTo>
                    <a:pt x="289369" y="226961"/>
                  </a:lnTo>
                  <a:lnTo>
                    <a:pt x="290042" y="233083"/>
                  </a:lnTo>
                  <a:lnTo>
                    <a:pt x="290156" y="234416"/>
                  </a:lnTo>
                  <a:lnTo>
                    <a:pt x="290309" y="237147"/>
                  </a:lnTo>
                  <a:lnTo>
                    <a:pt x="290309" y="213868"/>
                  </a:lnTo>
                  <a:lnTo>
                    <a:pt x="286296" y="211391"/>
                  </a:lnTo>
                  <a:lnTo>
                    <a:pt x="276771" y="209727"/>
                  </a:lnTo>
                  <a:lnTo>
                    <a:pt x="222211" y="209727"/>
                  </a:lnTo>
                  <a:lnTo>
                    <a:pt x="222211" y="154178"/>
                  </a:lnTo>
                  <a:lnTo>
                    <a:pt x="364083" y="154178"/>
                  </a:lnTo>
                  <a:lnTo>
                    <a:pt x="370357" y="147904"/>
                  </a:lnTo>
                  <a:lnTo>
                    <a:pt x="370344" y="141833"/>
                  </a:lnTo>
                  <a:lnTo>
                    <a:pt x="370344" y="136982"/>
                  </a:lnTo>
                  <a:lnTo>
                    <a:pt x="369265" y="133896"/>
                  </a:lnTo>
                  <a:lnTo>
                    <a:pt x="358216" y="120091"/>
                  </a:lnTo>
                  <a:lnTo>
                    <a:pt x="358216" y="139852"/>
                  </a:lnTo>
                  <a:lnTo>
                    <a:pt x="358101" y="140893"/>
                  </a:lnTo>
                  <a:lnTo>
                    <a:pt x="356933" y="141833"/>
                  </a:lnTo>
                  <a:lnTo>
                    <a:pt x="222211" y="141833"/>
                  </a:lnTo>
                  <a:lnTo>
                    <a:pt x="222211" y="30734"/>
                  </a:lnTo>
                  <a:lnTo>
                    <a:pt x="357022" y="30734"/>
                  </a:lnTo>
                  <a:lnTo>
                    <a:pt x="357581" y="31089"/>
                  </a:lnTo>
                  <a:lnTo>
                    <a:pt x="357835" y="31686"/>
                  </a:lnTo>
                  <a:lnTo>
                    <a:pt x="358140" y="32258"/>
                  </a:lnTo>
                  <a:lnTo>
                    <a:pt x="358063" y="32956"/>
                  </a:lnTo>
                  <a:lnTo>
                    <a:pt x="357632" y="33451"/>
                  </a:lnTo>
                  <a:lnTo>
                    <a:pt x="322364" y="77533"/>
                  </a:lnTo>
                  <a:lnTo>
                    <a:pt x="318249" y="82638"/>
                  </a:lnTo>
                  <a:lnTo>
                    <a:pt x="318249" y="89928"/>
                  </a:lnTo>
                  <a:lnTo>
                    <a:pt x="322364" y="95046"/>
                  </a:lnTo>
                  <a:lnTo>
                    <a:pt x="358216" y="139852"/>
                  </a:lnTo>
                  <a:lnTo>
                    <a:pt x="358216" y="120091"/>
                  </a:lnTo>
                  <a:lnTo>
                    <a:pt x="331520" y="86715"/>
                  </a:lnTo>
                  <a:lnTo>
                    <a:pt x="331520" y="85852"/>
                  </a:lnTo>
                  <a:lnTo>
                    <a:pt x="372110" y="35128"/>
                  </a:lnTo>
                  <a:close/>
                </a:path>
              </a:pathLst>
            </a:custGeom>
            <a:solidFill>
              <a:srgbClr val="0099C7"/>
            </a:solidFill>
          </p:spPr>
          <p:txBody>
            <a:bodyPr wrap="square" lIns="0" tIns="0" rIns="0" bIns="0" rtlCol="0"/>
            <a:lstStyle/>
            <a:p>
              <a:pPr algn="l" defTabSz="802020" rtl="0">
                <a:defRPr/>
              </a:pPr>
              <a:endParaRPr sz="1579">
                <a:latin typeface="Calibri"/>
                <a:ea typeface="+mn-ea"/>
                <a:cs typeface="+mn-cs"/>
              </a:endParaRPr>
            </a:p>
          </p:txBody>
        </p:sp>
        <p:pic>
          <p:nvPicPr>
            <p:cNvPr id="38" name="object 38"/>
            <p:cNvPicPr/>
            <p:nvPr/>
          </p:nvPicPr>
          <p:blipFill>
            <a:blip r:embed="rId13" cstate="print"/>
            <a:stretch>
              <a:fillRect/>
            </a:stretch>
          </p:blipFill>
          <p:spPr>
            <a:xfrm>
              <a:off x="689980" y="5350883"/>
              <a:ext cx="406880" cy="407669"/>
            </a:xfrm>
            <a:prstGeom prst="rect">
              <a:avLst/>
            </a:prstGeom>
          </p:spPr>
        </p:pic>
        <p:sp>
          <p:nvSpPr>
            <p:cNvPr id="39" name="object 39"/>
            <p:cNvSpPr/>
            <p:nvPr/>
          </p:nvSpPr>
          <p:spPr>
            <a:xfrm>
              <a:off x="694857" y="3521283"/>
              <a:ext cx="199390" cy="360045"/>
            </a:xfrm>
            <a:custGeom>
              <a:avLst/>
              <a:gdLst/>
              <a:ahLst/>
              <a:cxnLst/>
              <a:rect l="l" t="t" r="r" b="b"/>
              <a:pathLst>
                <a:path w="199390" h="360045">
                  <a:moveTo>
                    <a:pt x="193295" y="0"/>
                  </a:moveTo>
                  <a:lnTo>
                    <a:pt x="159226" y="0"/>
                  </a:lnTo>
                  <a:lnTo>
                    <a:pt x="152436" y="6076"/>
                  </a:lnTo>
                  <a:lnTo>
                    <a:pt x="149484" y="31951"/>
                  </a:lnTo>
                  <a:lnTo>
                    <a:pt x="148145" y="33453"/>
                  </a:lnTo>
                  <a:lnTo>
                    <a:pt x="111268" y="46726"/>
                  </a:lnTo>
                  <a:lnTo>
                    <a:pt x="98828" y="53922"/>
                  </a:lnTo>
                  <a:lnTo>
                    <a:pt x="96780" y="53816"/>
                  </a:lnTo>
                  <a:lnTo>
                    <a:pt x="76332" y="37584"/>
                  </a:lnTo>
                  <a:lnTo>
                    <a:pt x="67249" y="38096"/>
                  </a:lnTo>
                  <a:lnTo>
                    <a:pt x="38103" y="67262"/>
                  </a:lnTo>
                  <a:lnTo>
                    <a:pt x="37584" y="76342"/>
                  </a:lnTo>
                  <a:lnTo>
                    <a:pt x="53802" y="96777"/>
                  </a:lnTo>
                  <a:lnTo>
                    <a:pt x="53908" y="98825"/>
                  </a:lnTo>
                  <a:lnTo>
                    <a:pt x="37169" y="134298"/>
                  </a:lnTo>
                  <a:lnTo>
                    <a:pt x="33450" y="148156"/>
                  </a:lnTo>
                  <a:lnTo>
                    <a:pt x="31934" y="149494"/>
                  </a:lnTo>
                  <a:lnTo>
                    <a:pt x="6057" y="152447"/>
                  </a:lnTo>
                  <a:lnTo>
                    <a:pt x="0" y="159236"/>
                  </a:lnTo>
                  <a:lnTo>
                    <a:pt x="0" y="200460"/>
                  </a:lnTo>
                  <a:lnTo>
                    <a:pt x="6057" y="207249"/>
                  </a:lnTo>
                  <a:lnTo>
                    <a:pt x="31934" y="210202"/>
                  </a:lnTo>
                  <a:lnTo>
                    <a:pt x="33450" y="211540"/>
                  </a:lnTo>
                  <a:lnTo>
                    <a:pt x="46710" y="248430"/>
                  </a:lnTo>
                  <a:lnTo>
                    <a:pt x="53908" y="260871"/>
                  </a:lnTo>
                  <a:lnTo>
                    <a:pt x="53802" y="262919"/>
                  </a:lnTo>
                  <a:lnTo>
                    <a:pt x="37584" y="283354"/>
                  </a:lnTo>
                  <a:lnTo>
                    <a:pt x="38103" y="292434"/>
                  </a:lnTo>
                  <a:lnTo>
                    <a:pt x="67238" y="321570"/>
                  </a:lnTo>
                  <a:lnTo>
                    <a:pt x="76329" y="322099"/>
                  </a:lnTo>
                  <a:lnTo>
                    <a:pt x="96780" y="305884"/>
                  </a:lnTo>
                  <a:lnTo>
                    <a:pt x="98825" y="305778"/>
                  </a:lnTo>
                  <a:lnTo>
                    <a:pt x="134303" y="322513"/>
                  </a:lnTo>
                  <a:lnTo>
                    <a:pt x="148163" y="326233"/>
                  </a:lnTo>
                  <a:lnTo>
                    <a:pt x="149501" y="327748"/>
                  </a:lnTo>
                  <a:lnTo>
                    <a:pt x="152457" y="353626"/>
                  </a:lnTo>
                  <a:lnTo>
                    <a:pt x="159243" y="359679"/>
                  </a:lnTo>
                  <a:lnTo>
                    <a:pt x="192387" y="359678"/>
                  </a:lnTo>
                  <a:lnTo>
                    <a:pt x="193281" y="359678"/>
                  </a:lnTo>
                  <a:lnTo>
                    <a:pt x="196677" y="359380"/>
                  </a:lnTo>
                  <a:lnTo>
                    <a:pt x="198951" y="356887"/>
                  </a:lnTo>
                  <a:lnTo>
                    <a:pt x="198941" y="222888"/>
                  </a:lnTo>
                  <a:lnTo>
                    <a:pt x="196374" y="220321"/>
                  </a:lnTo>
                  <a:lnTo>
                    <a:pt x="190038" y="220321"/>
                  </a:lnTo>
                  <a:lnTo>
                    <a:pt x="187471" y="222888"/>
                  </a:lnTo>
                  <a:lnTo>
                    <a:pt x="187471" y="348210"/>
                  </a:lnTo>
                  <a:lnTo>
                    <a:pt x="165057" y="348210"/>
                  </a:lnTo>
                  <a:lnTo>
                    <a:pt x="163169" y="346527"/>
                  </a:lnTo>
                  <a:lnTo>
                    <a:pt x="160319" y="321611"/>
                  </a:lnTo>
                  <a:lnTo>
                    <a:pt x="155440" y="316135"/>
                  </a:lnTo>
                  <a:lnTo>
                    <a:pt x="116508" y="302785"/>
                  </a:lnTo>
                  <a:lnTo>
                    <a:pt x="100781" y="293489"/>
                  </a:lnTo>
                  <a:lnTo>
                    <a:pt x="93435" y="293892"/>
                  </a:lnTo>
                  <a:lnTo>
                    <a:pt x="73758" y="309506"/>
                  </a:lnTo>
                  <a:lnTo>
                    <a:pt x="71236" y="309359"/>
                  </a:lnTo>
                  <a:lnTo>
                    <a:pt x="50324" y="288450"/>
                  </a:lnTo>
                  <a:lnTo>
                    <a:pt x="50177" y="285914"/>
                  </a:lnTo>
                  <a:lnTo>
                    <a:pt x="65805" y="266231"/>
                  </a:lnTo>
                  <a:lnTo>
                    <a:pt x="66207" y="258881"/>
                  </a:lnTo>
                  <a:lnTo>
                    <a:pt x="48099" y="221909"/>
                  </a:lnTo>
                  <a:lnTo>
                    <a:pt x="43544" y="204242"/>
                  </a:lnTo>
                  <a:lnTo>
                    <a:pt x="38072" y="199364"/>
                  </a:lnTo>
                  <a:lnTo>
                    <a:pt x="13152" y="196513"/>
                  </a:lnTo>
                  <a:lnTo>
                    <a:pt x="11473" y="194629"/>
                  </a:lnTo>
                  <a:lnTo>
                    <a:pt x="11473" y="165067"/>
                  </a:lnTo>
                  <a:lnTo>
                    <a:pt x="13156" y="163179"/>
                  </a:lnTo>
                  <a:lnTo>
                    <a:pt x="38069" y="160332"/>
                  </a:lnTo>
                  <a:lnTo>
                    <a:pt x="43537" y="155461"/>
                  </a:lnTo>
                  <a:lnTo>
                    <a:pt x="56902" y="116540"/>
                  </a:lnTo>
                  <a:lnTo>
                    <a:pt x="66214" y="100808"/>
                  </a:lnTo>
                  <a:lnTo>
                    <a:pt x="65815" y="93448"/>
                  </a:lnTo>
                  <a:lnTo>
                    <a:pt x="50191" y="73762"/>
                  </a:lnTo>
                  <a:lnTo>
                    <a:pt x="50337" y="71239"/>
                  </a:lnTo>
                  <a:lnTo>
                    <a:pt x="71236" y="50344"/>
                  </a:lnTo>
                  <a:lnTo>
                    <a:pt x="73758" y="50201"/>
                  </a:lnTo>
                  <a:lnTo>
                    <a:pt x="93438" y="65811"/>
                  </a:lnTo>
                  <a:lnTo>
                    <a:pt x="100781" y="66214"/>
                  </a:lnTo>
                  <a:lnTo>
                    <a:pt x="137771" y="48114"/>
                  </a:lnTo>
                  <a:lnTo>
                    <a:pt x="155440" y="43558"/>
                  </a:lnTo>
                  <a:lnTo>
                    <a:pt x="160319" y="38096"/>
                  </a:lnTo>
                  <a:lnTo>
                    <a:pt x="163166" y="13176"/>
                  </a:lnTo>
                  <a:lnTo>
                    <a:pt x="165053" y="11469"/>
                  </a:lnTo>
                  <a:lnTo>
                    <a:pt x="187498" y="11469"/>
                  </a:lnTo>
                  <a:lnTo>
                    <a:pt x="187498" y="136805"/>
                  </a:lnTo>
                  <a:lnTo>
                    <a:pt x="190069" y="139376"/>
                  </a:lnTo>
                  <a:lnTo>
                    <a:pt x="196401" y="139376"/>
                  </a:lnTo>
                  <a:lnTo>
                    <a:pt x="198968" y="136805"/>
                  </a:lnTo>
                  <a:lnTo>
                    <a:pt x="198982" y="2833"/>
                  </a:lnTo>
                  <a:lnTo>
                    <a:pt x="196708" y="341"/>
                  </a:lnTo>
                  <a:lnTo>
                    <a:pt x="193295" y="0"/>
                  </a:lnTo>
                  <a:close/>
                </a:path>
              </a:pathLst>
            </a:custGeom>
            <a:solidFill>
              <a:srgbClr val="0099C7"/>
            </a:solidFill>
          </p:spPr>
          <p:txBody>
            <a:bodyPr wrap="square" lIns="0" tIns="0" rIns="0" bIns="0" rtlCol="0"/>
            <a:lstStyle/>
            <a:p>
              <a:pPr algn="l" defTabSz="802020" rtl="0">
                <a:defRPr/>
              </a:pPr>
              <a:endParaRPr sz="1579">
                <a:latin typeface="Calibri"/>
                <a:ea typeface="+mn-ea"/>
                <a:cs typeface="+mn-cs"/>
              </a:endParaRPr>
            </a:p>
          </p:txBody>
        </p:sp>
        <p:pic>
          <p:nvPicPr>
            <p:cNvPr id="40" name="object 40"/>
            <p:cNvPicPr/>
            <p:nvPr/>
          </p:nvPicPr>
          <p:blipFill>
            <a:blip r:embed="rId14" cstate="print"/>
            <a:stretch>
              <a:fillRect/>
            </a:stretch>
          </p:blipFill>
          <p:spPr>
            <a:xfrm>
              <a:off x="769080" y="3555180"/>
              <a:ext cx="283504" cy="291905"/>
            </a:xfrm>
            <a:prstGeom prst="rect">
              <a:avLst/>
            </a:prstGeom>
          </p:spPr>
        </p:pic>
      </p:grpSp>
      <p:sp>
        <p:nvSpPr>
          <p:cNvPr id="41" name="object 41"/>
          <p:cNvSpPr txBox="1"/>
          <p:nvPr/>
        </p:nvSpPr>
        <p:spPr>
          <a:xfrm>
            <a:off x="7947423" y="1402533"/>
            <a:ext cx="2062935" cy="658363"/>
          </a:xfrm>
          <a:prstGeom prst="rect">
            <a:avLst/>
          </a:prstGeom>
        </p:spPr>
        <p:txBody>
          <a:bodyPr vert="horz" wrap="square" lIns="0" tIns="10582" rIns="0" bIns="0" rtlCol="0">
            <a:spAutoFit/>
          </a:bodyPr>
          <a:lstStyle/>
          <a:p>
            <a:pPr marL="11139" marR="4456" algn="l" defTabSz="802020" rtl="0">
              <a:spcBef>
                <a:spcPts val="83"/>
              </a:spcBef>
              <a:defRPr/>
            </a:pPr>
            <a:r>
              <a:rPr sz="1403" b="1" spc="-18">
                <a:solidFill>
                  <a:srgbClr val="FFBD37"/>
                </a:solidFill>
                <a:latin typeface="Arial"/>
                <a:ea typeface="+mn-ea"/>
                <a:cs typeface="Arial"/>
              </a:rPr>
              <a:t>To</a:t>
            </a:r>
            <a:r>
              <a:rPr sz="1403" b="1" spc="-48">
                <a:solidFill>
                  <a:srgbClr val="FFBD37"/>
                </a:solidFill>
                <a:latin typeface="Arial"/>
                <a:ea typeface="+mn-ea"/>
                <a:cs typeface="Arial"/>
              </a:rPr>
              <a:t> </a:t>
            </a:r>
            <a:r>
              <a:rPr sz="1403" b="1">
                <a:solidFill>
                  <a:srgbClr val="FFBD37"/>
                </a:solidFill>
                <a:latin typeface="Arial"/>
                <a:ea typeface="+mn-ea"/>
                <a:cs typeface="Arial"/>
              </a:rPr>
              <a:t>enhance</a:t>
            </a:r>
            <a:r>
              <a:rPr sz="1403" b="1" spc="-48">
                <a:solidFill>
                  <a:srgbClr val="FFBD37"/>
                </a:solidFill>
                <a:latin typeface="Arial"/>
                <a:ea typeface="+mn-ea"/>
                <a:cs typeface="Arial"/>
              </a:rPr>
              <a:t> </a:t>
            </a:r>
            <a:r>
              <a:rPr sz="1403" b="1" spc="-9">
                <a:solidFill>
                  <a:srgbClr val="FFBD37"/>
                </a:solidFill>
                <a:latin typeface="Arial"/>
                <a:ea typeface="+mn-ea"/>
                <a:cs typeface="Arial"/>
              </a:rPr>
              <a:t>productivity </a:t>
            </a:r>
            <a:r>
              <a:rPr sz="1403" b="1">
                <a:solidFill>
                  <a:srgbClr val="FFBD37"/>
                </a:solidFill>
                <a:latin typeface="Arial"/>
                <a:ea typeface="+mn-ea"/>
                <a:cs typeface="Arial"/>
              </a:rPr>
              <a:t>for</a:t>
            </a:r>
            <a:r>
              <a:rPr sz="1403" b="1" spc="-13">
                <a:solidFill>
                  <a:srgbClr val="FFBD37"/>
                </a:solidFill>
                <a:latin typeface="Arial"/>
                <a:ea typeface="+mn-ea"/>
                <a:cs typeface="Arial"/>
              </a:rPr>
              <a:t> </a:t>
            </a:r>
            <a:r>
              <a:rPr sz="1403" b="1" spc="-9">
                <a:solidFill>
                  <a:srgbClr val="FFBD37"/>
                </a:solidFill>
                <a:latin typeface="Arial"/>
                <a:ea typeface="+mn-ea"/>
                <a:cs typeface="Arial"/>
              </a:rPr>
              <a:t>financial professionals</a:t>
            </a:r>
            <a:r>
              <a:rPr sz="1403" b="1" spc="4">
                <a:solidFill>
                  <a:srgbClr val="FFBD37"/>
                </a:solidFill>
                <a:latin typeface="Arial"/>
                <a:ea typeface="+mn-ea"/>
                <a:cs typeface="Arial"/>
              </a:rPr>
              <a:t> </a:t>
            </a:r>
            <a:r>
              <a:rPr sz="1403" b="1" spc="-9">
                <a:solidFill>
                  <a:srgbClr val="FFBD37"/>
                </a:solidFill>
                <a:latin typeface="Arial"/>
                <a:ea typeface="+mn-ea"/>
                <a:cs typeface="Arial"/>
              </a:rPr>
              <a:t>though</a:t>
            </a:r>
            <a:endParaRPr sz="1403">
              <a:latin typeface="Arial"/>
              <a:ea typeface="+mn-ea"/>
              <a:cs typeface="Arial"/>
            </a:endParaRPr>
          </a:p>
        </p:txBody>
      </p:sp>
      <p:sp>
        <p:nvSpPr>
          <p:cNvPr id="42" name="object 42"/>
          <p:cNvSpPr txBox="1"/>
          <p:nvPr/>
        </p:nvSpPr>
        <p:spPr>
          <a:xfrm>
            <a:off x="7947423" y="2376925"/>
            <a:ext cx="2221108" cy="335311"/>
          </a:xfrm>
          <a:prstGeom prst="rect">
            <a:avLst/>
          </a:prstGeom>
        </p:spPr>
        <p:txBody>
          <a:bodyPr vert="horz" wrap="square" lIns="0" tIns="11139" rIns="0" bIns="0" rtlCol="0">
            <a:spAutoFit/>
          </a:bodyPr>
          <a:lstStyle/>
          <a:p>
            <a:pPr marL="162632" indent="-151493" algn="l" defTabSz="802020" rtl="0">
              <a:spcBef>
                <a:spcPts val="88"/>
              </a:spcBef>
              <a:buFontTx/>
              <a:buChar char="•"/>
              <a:tabLst>
                <a:tab pos="162632" algn="l"/>
              </a:tabLst>
              <a:defRPr/>
            </a:pPr>
            <a:r>
              <a:rPr sz="1053">
                <a:solidFill>
                  <a:srgbClr val="FFFFFF"/>
                </a:solidFill>
                <a:latin typeface="Arial"/>
                <a:ea typeface="+mn-ea"/>
                <a:cs typeface="Arial"/>
              </a:rPr>
              <a:t>One</a:t>
            </a:r>
            <a:r>
              <a:rPr sz="1053" spc="-18">
                <a:solidFill>
                  <a:srgbClr val="FFFFFF"/>
                </a:solidFill>
                <a:latin typeface="Arial"/>
                <a:ea typeface="+mn-ea"/>
                <a:cs typeface="Arial"/>
              </a:rPr>
              <a:t> </a:t>
            </a:r>
            <a:r>
              <a:rPr sz="1053">
                <a:solidFill>
                  <a:srgbClr val="FFFFFF"/>
                </a:solidFill>
                <a:latin typeface="Arial"/>
                <a:ea typeface="+mn-ea"/>
                <a:cs typeface="Arial"/>
              </a:rPr>
              <a:t>way</a:t>
            </a:r>
            <a:r>
              <a:rPr sz="1053" spc="-4">
                <a:solidFill>
                  <a:srgbClr val="FFFFFF"/>
                </a:solidFill>
                <a:latin typeface="Arial"/>
                <a:ea typeface="+mn-ea"/>
                <a:cs typeface="Arial"/>
              </a:rPr>
              <a:t> </a:t>
            </a:r>
            <a:r>
              <a:rPr sz="1053">
                <a:solidFill>
                  <a:srgbClr val="FFFFFF"/>
                </a:solidFill>
                <a:latin typeface="Arial"/>
                <a:ea typeface="+mn-ea"/>
                <a:cs typeface="Arial"/>
              </a:rPr>
              <a:t>of</a:t>
            </a:r>
            <a:r>
              <a:rPr sz="1053" spc="-13">
                <a:solidFill>
                  <a:srgbClr val="FFFFFF"/>
                </a:solidFill>
                <a:latin typeface="Arial"/>
                <a:ea typeface="+mn-ea"/>
                <a:cs typeface="Arial"/>
              </a:rPr>
              <a:t> </a:t>
            </a:r>
            <a:r>
              <a:rPr sz="1053">
                <a:solidFill>
                  <a:srgbClr val="FFFFFF"/>
                </a:solidFill>
                <a:latin typeface="Arial"/>
                <a:ea typeface="+mn-ea"/>
                <a:cs typeface="Arial"/>
              </a:rPr>
              <a:t>doing</a:t>
            </a:r>
            <a:r>
              <a:rPr sz="1053" spc="-35">
                <a:solidFill>
                  <a:srgbClr val="FFFFFF"/>
                </a:solidFill>
                <a:latin typeface="Arial"/>
                <a:ea typeface="+mn-ea"/>
                <a:cs typeface="Arial"/>
              </a:rPr>
              <a:t> </a:t>
            </a:r>
            <a:r>
              <a:rPr sz="1053">
                <a:solidFill>
                  <a:srgbClr val="FFFFFF"/>
                </a:solidFill>
                <a:latin typeface="Arial"/>
                <a:ea typeface="+mn-ea"/>
                <a:cs typeface="Arial"/>
              </a:rPr>
              <a:t>business</a:t>
            </a:r>
            <a:r>
              <a:rPr sz="1053" spc="-39">
                <a:solidFill>
                  <a:srgbClr val="FFFFFF"/>
                </a:solidFill>
                <a:latin typeface="Arial"/>
                <a:ea typeface="+mn-ea"/>
                <a:cs typeface="Arial"/>
              </a:rPr>
              <a:t> </a:t>
            </a:r>
            <a:r>
              <a:rPr sz="1053" spc="-18">
                <a:solidFill>
                  <a:srgbClr val="FFFFFF"/>
                </a:solidFill>
                <a:latin typeface="Arial"/>
                <a:ea typeface="+mn-ea"/>
                <a:cs typeface="Arial"/>
              </a:rPr>
              <a:t>with</a:t>
            </a:r>
            <a:endParaRPr sz="1053">
              <a:latin typeface="Arial"/>
              <a:ea typeface="+mn-ea"/>
              <a:cs typeface="Arial"/>
            </a:endParaRPr>
          </a:p>
          <a:p>
            <a:pPr marL="162075" algn="l" defTabSz="802020" rtl="0">
              <a:spcBef>
                <a:spcPts val="4"/>
              </a:spcBef>
              <a:defRPr/>
            </a:pPr>
            <a:r>
              <a:rPr sz="1053">
                <a:solidFill>
                  <a:srgbClr val="FFFFFF"/>
                </a:solidFill>
                <a:latin typeface="Arial"/>
                <a:ea typeface="+mn-ea"/>
                <a:cs typeface="Arial"/>
              </a:rPr>
              <a:t>access</a:t>
            </a:r>
            <a:r>
              <a:rPr sz="1053" spc="-4">
                <a:solidFill>
                  <a:srgbClr val="FFFFFF"/>
                </a:solidFill>
                <a:latin typeface="Arial"/>
                <a:ea typeface="+mn-ea"/>
                <a:cs typeface="Arial"/>
              </a:rPr>
              <a:t> </a:t>
            </a:r>
            <a:r>
              <a:rPr sz="1053">
                <a:solidFill>
                  <a:srgbClr val="FFFFFF"/>
                </a:solidFill>
                <a:latin typeface="Arial"/>
                <a:ea typeface="+mn-ea"/>
                <a:cs typeface="Arial"/>
              </a:rPr>
              <a:t>to </a:t>
            </a:r>
            <a:r>
              <a:rPr sz="1053" spc="-9">
                <a:solidFill>
                  <a:srgbClr val="FFFFFF"/>
                </a:solidFill>
                <a:latin typeface="Arial"/>
                <a:ea typeface="+mn-ea"/>
                <a:cs typeface="Arial"/>
              </a:rPr>
              <a:t>market-</a:t>
            </a:r>
            <a:r>
              <a:rPr sz="1053">
                <a:solidFill>
                  <a:srgbClr val="FFFFFF"/>
                </a:solidFill>
                <a:latin typeface="Arial"/>
                <a:ea typeface="+mn-ea"/>
                <a:cs typeface="Arial"/>
              </a:rPr>
              <a:t>leading</a:t>
            </a:r>
            <a:r>
              <a:rPr sz="1053" spc="-31">
                <a:solidFill>
                  <a:srgbClr val="FFFFFF"/>
                </a:solidFill>
                <a:latin typeface="Arial"/>
                <a:ea typeface="+mn-ea"/>
                <a:cs typeface="Arial"/>
              </a:rPr>
              <a:t> </a:t>
            </a:r>
            <a:r>
              <a:rPr sz="1053" spc="-9">
                <a:solidFill>
                  <a:srgbClr val="FFFFFF"/>
                </a:solidFill>
                <a:latin typeface="Arial"/>
                <a:ea typeface="+mn-ea"/>
                <a:cs typeface="Arial"/>
              </a:rPr>
              <a:t>solutions</a:t>
            </a:r>
            <a:endParaRPr sz="1053">
              <a:latin typeface="Arial"/>
              <a:ea typeface="+mn-ea"/>
              <a:cs typeface="Arial"/>
            </a:endParaRPr>
          </a:p>
        </p:txBody>
      </p:sp>
      <p:sp>
        <p:nvSpPr>
          <p:cNvPr id="43" name="object 43"/>
          <p:cNvSpPr txBox="1"/>
          <p:nvPr/>
        </p:nvSpPr>
        <p:spPr>
          <a:xfrm>
            <a:off x="7947423" y="2831995"/>
            <a:ext cx="2138680" cy="335311"/>
          </a:xfrm>
          <a:prstGeom prst="rect">
            <a:avLst/>
          </a:prstGeom>
        </p:spPr>
        <p:txBody>
          <a:bodyPr vert="horz" wrap="square" lIns="0" tIns="11139" rIns="0" bIns="0" rtlCol="0">
            <a:spAutoFit/>
          </a:bodyPr>
          <a:lstStyle/>
          <a:p>
            <a:pPr marL="162075" marR="4456" indent="-151493" algn="l" defTabSz="802020" rtl="0">
              <a:spcBef>
                <a:spcPts val="88"/>
              </a:spcBef>
              <a:buFontTx/>
              <a:buChar char="•"/>
              <a:tabLst>
                <a:tab pos="162075" algn="l"/>
              </a:tabLst>
              <a:defRPr/>
            </a:pPr>
            <a:r>
              <a:rPr sz="1053">
                <a:solidFill>
                  <a:srgbClr val="FFFFFF"/>
                </a:solidFill>
                <a:latin typeface="Arial"/>
                <a:ea typeface="+mn-ea"/>
                <a:cs typeface="Arial"/>
              </a:rPr>
              <a:t>Single</a:t>
            </a:r>
            <a:r>
              <a:rPr sz="1053" spc="-35">
                <a:solidFill>
                  <a:srgbClr val="FFFFFF"/>
                </a:solidFill>
                <a:latin typeface="Arial"/>
                <a:ea typeface="+mn-ea"/>
                <a:cs typeface="Arial"/>
              </a:rPr>
              <a:t> </a:t>
            </a:r>
            <a:r>
              <a:rPr sz="1053">
                <a:solidFill>
                  <a:srgbClr val="FFFFFF"/>
                </a:solidFill>
                <a:latin typeface="Arial"/>
                <a:ea typeface="+mn-ea"/>
                <a:cs typeface="Arial"/>
              </a:rPr>
              <a:t>view</a:t>
            </a:r>
            <a:r>
              <a:rPr sz="1053" spc="-13">
                <a:solidFill>
                  <a:srgbClr val="FFFFFF"/>
                </a:solidFill>
                <a:latin typeface="Arial"/>
                <a:ea typeface="+mn-ea"/>
                <a:cs typeface="Arial"/>
              </a:rPr>
              <a:t> </a:t>
            </a:r>
            <a:r>
              <a:rPr sz="1053">
                <a:solidFill>
                  <a:srgbClr val="FFFFFF"/>
                </a:solidFill>
                <a:latin typeface="Arial"/>
                <a:ea typeface="+mn-ea"/>
                <a:cs typeface="Arial"/>
              </a:rPr>
              <a:t>of</a:t>
            </a:r>
            <a:r>
              <a:rPr sz="1053" spc="-13">
                <a:solidFill>
                  <a:srgbClr val="FFFFFF"/>
                </a:solidFill>
                <a:latin typeface="Arial"/>
                <a:ea typeface="+mn-ea"/>
                <a:cs typeface="Arial"/>
              </a:rPr>
              <a:t> </a:t>
            </a:r>
            <a:r>
              <a:rPr sz="1053">
                <a:solidFill>
                  <a:srgbClr val="FFFFFF"/>
                </a:solidFill>
                <a:latin typeface="Arial"/>
                <a:ea typeface="+mn-ea"/>
                <a:cs typeface="Arial"/>
              </a:rPr>
              <a:t>wealth</a:t>
            </a:r>
            <a:r>
              <a:rPr sz="1053" spc="-31">
                <a:solidFill>
                  <a:srgbClr val="FFFFFF"/>
                </a:solidFill>
                <a:latin typeface="Arial"/>
                <a:ea typeface="+mn-ea"/>
                <a:cs typeface="Arial"/>
              </a:rPr>
              <a:t> </a:t>
            </a:r>
            <a:r>
              <a:rPr sz="1053">
                <a:solidFill>
                  <a:srgbClr val="FFFFFF"/>
                </a:solidFill>
                <a:latin typeface="Arial"/>
                <a:ea typeface="+mn-ea"/>
                <a:cs typeface="Arial"/>
              </a:rPr>
              <a:t>for</a:t>
            </a:r>
            <a:r>
              <a:rPr sz="1053" spc="-26">
                <a:solidFill>
                  <a:srgbClr val="FFFFFF"/>
                </a:solidFill>
                <a:latin typeface="Arial"/>
                <a:ea typeface="+mn-ea"/>
                <a:cs typeface="Arial"/>
              </a:rPr>
              <a:t> </a:t>
            </a:r>
            <a:r>
              <a:rPr sz="1053" spc="-9">
                <a:solidFill>
                  <a:srgbClr val="FFFFFF"/>
                </a:solidFill>
                <a:latin typeface="Arial"/>
                <a:ea typeface="+mn-ea"/>
                <a:cs typeface="Arial"/>
              </a:rPr>
              <a:t>financial </a:t>
            </a:r>
            <a:r>
              <a:rPr sz="1053">
                <a:solidFill>
                  <a:srgbClr val="FFFFFF"/>
                </a:solidFill>
                <a:latin typeface="Arial"/>
                <a:ea typeface="+mn-ea"/>
                <a:cs typeface="Arial"/>
              </a:rPr>
              <a:t>professionals</a:t>
            </a:r>
            <a:r>
              <a:rPr sz="1053" spc="-35">
                <a:solidFill>
                  <a:srgbClr val="FFFFFF"/>
                </a:solidFill>
                <a:latin typeface="Arial"/>
                <a:ea typeface="+mn-ea"/>
                <a:cs typeface="Arial"/>
              </a:rPr>
              <a:t> </a:t>
            </a:r>
            <a:r>
              <a:rPr sz="1053">
                <a:solidFill>
                  <a:srgbClr val="FFFFFF"/>
                </a:solidFill>
                <a:latin typeface="Arial"/>
                <a:ea typeface="+mn-ea"/>
                <a:cs typeface="Arial"/>
              </a:rPr>
              <a:t>and</a:t>
            </a:r>
            <a:r>
              <a:rPr sz="1053" spc="-35">
                <a:solidFill>
                  <a:srgbClr val="FFFFFF"/>
                </a:solidFill>
                <a:latin typeface="Arial"/>
                <a:ea typeface="+mn-ea"/>
                <a:cs typeface="Arial"/>
              </a:rPr>
              <a:t> </a:t>
            </a:r>
            <a:r>
              <a:rPr sz="1053">
                <a:solidFill>
                  <a:srgbClr val="FFFFFF"/>
                </a:solidFill>
                <a:latin typeface="Arial"/>
                <a:ea typeface="+mn-ea"/>
                <a:cs typeface="Arial"/>
              </a:rPr>
              <a:t>their</a:t>
            </a:r>
            <a:r>
              <a:rPr sz="1053" spc="-31">
                <a:solidFill>
                  <a:srgbClr val="FFFFFF"/>
                </a:solidFill>
                <a:latin typeface="Arial"/>
                <a:ea typeface="+mn-ea"/>
                <a:cs typeface="Arial"/>
              </a:rPr>
              <a:t> </a:t>
            </a:r>
            <a:r>
              <a:rPr sz="1053" spc="-9">
                <a:solidFill>
                  <a:srgbClr val="FFFFFF"/>
                </a:solidFill>
                <a:latin typeface="Arial"/>
                <a:ea typeface="+mn-ea"/>
                <a:cs typeface="Arial"/>
              </a:rPr>
              <a:t>clients</a:t>
            </a:r>
            <a:endParaRPr sz="1053">
              <a:latin typeface="Arial"/>
              <a:ea typeface="+mn-ea"/>
              <a:cs typeface="Arial"/>
            </a:endParaRPr>
          </a:p>
        </p:txBody>
      </p:sp>
      <p:sp>
        <p:nvSpPr>
          <p:cNvPr id="44" name="object 44"/>
          <p:cNvSpPr txBox="1"/>
          <p:nvPr/>
        </p:nvSpPr>
        <p:spPr>
          <a:xfrm>
            <a:off x="7947423" y="3286465"/>
            <a:ext cx="1923698" cy="335311"/>
          </a:xfrm>
          <a:prstGeom prst="rect">
            <a:avLst/>
          </a:prstGeom>
        </p:spPr>
        <p:txBody>
          <a:bodyPr vert="horz" wrap="square" lIns="0" tIns="11139" rIns="0" bIns="0" rtlCol="0">
            <a:spAutoFit/>
          </a:bodyPr>
          <a:lstStyle/>
          <a:p>
            <a:pPr marL="162075" marR="4456" indent="-151493" algn="l" defTabSz="802020" rtl="0">
              <a:spcBef>
                <a:spcPts val="88"/>
              </a:spcBef>
              <a:buFontTx/>
              <a:buChar char="•"/>
              <a:tabLst>
                <a:tab pos="162075" algn="l"/>
              </a:tabLst>
              <a:defRPr/>
            </a:pPr>
            <a:r>
              <a:rPr sz="1053">
                <a:solidFill>
                  <a:srgbClr val="FFFFFF"/>
                </a:solidFill>
                <a:latin typeface="Arial"/>
                <a:ea typeface="+mn-ea"/>
                <a:cs typeface="Arial"/>
              </a:rPr>
              <a:t>Efficient</a:t>
            </a:r>
            <a:r>
              <a:rPr sz="1053" spc="-35">
                <a:solidFill>
                  <a:srgbClr val="FFFFFF"/>
                </a:solidFill>
                <a:latin typeface="Arial"/>
                <a:ea typeface="+mn-ea"/>
                <a:cs typeface="Arial"/>
              </a:rPr>
              <a:t> </a:t>
            </a:r>
            <a:r>
              <a:rPr sz="1053">
                <a:solidFill>
                  <a:srgbClr val="FFFFFF"/>
                </a:solidFill>
                <a:latin typeface="Arial"/>
                <a:ea typeface="+mn-ea"/>
                <a:cs typeface="Arial"/>
              </a:rPr>
              <a:t>access</a:t>
            </a:r>
            <a:r>
              <a:rPr sz="1053" spc="-39">
                <a:solidFill>
                  <a:srgbClr val="FFFFFF"/>
                </a:solidFill>
                <a:latin typeface="Arial"/>
                <a:ea typeface="+mn-ea"/>
                <a:cs typeface="Arial"/>
              </a:rPr>
              <a:t> </a:t>
            </a:r>
            <a:r>
              <a:rPr sz="1053">
                <a:solidFill>
                  <a:srgbClr val="FFFFFF"/>
                </a:solidFill>
                <a:latin typeface="Arial"/>
                <a:ea typeface="+mn-ea"/>
                <a:cs typeface="Arial"/>
              </a:rPr>
              <a:t>to</a:t>
            </a:r>
            <a:r>
              <a:rPr sz="1053" spc="-18">
                <a:solidFill>
                  <a:srgbClr val="FFFFFF"/>
                </a:solidFill>
                <a:latin typeface="Arial"/>
                <a:ea typeface="+mn-ea"/>
                <a:cs typeface="Arial"/>
              </a:rPr>
              <a:t> </a:t>
            </a:r>
            <a:r>
              <a:rPr sz="1053" spc="-9">
                <a:solidFill>
                  <a:srgbClr val="FFFFFF"/>
                </a:solidFill>
                <a:latin typeface="Arial"/>
                <a:ea typeface="+mn-ea"/>
                <a:cs typeface="Arial"/>
              </a:rPr>
              <a:t>ecosystem partners</a:t>
            </a:r>
            <a:endParaRPr sz="1053">
              <a:latin typeface="Arial"/>
              <a:ea typeface="+mn-ea"/>
              <a:cs typeface="Arial"/>
            </a:endParaRPr>
          </a:p>
        </p:txBody>
      </p:sp>
      <p:sp>
        <p:nvSpPr>
          <p:cNvPr id="45" name="object 45"/>
          <p:cNvSpPr txBox="1"/>
          <p:nvPr/>
        </p:nvSpPr>
        <p:spPr>
          <a:xfrm>
            <a:off x="7947423" y="3740667"/>
            <a:ext cx="2197160" cy="335311"/>
          </a:xfrm>
          <a:prstGeom prst="rect">
            <a:avLst/>
          </a:prstGeom>
        </p:spPr>
        <p:txBody>
          <a:bodyPr vert="horz" wrap="square" lIns="0" tIns="11139" rIns="0" bIns="0" rtlCol="0">
            <a:spAutoFit/>
          </a:bodyPr>
          <a:lstStyle/>
          <a:p>
            <a:pPr marL="162632" indent="-151493" algn="l" defTabSz="802020" rtl="0">
              <a:spcBef>
                <a:spcPts val="88"/>
              </a:spcBef>
              <a:buFontTx/>
              <a:buChar char="•"/>
              <a:tabLst>
                <a:tab pos="162632" algn="l"/>
              </a:tabLst>
              <a:defRPr/>
            </a:pPr>
            <a:r>
              <a:rPr sz="1053">
                <a:solidFill>
                  <a:srgbClr val="FFFFFF"/>
                </a:solidFill>
                <a:latin typeface="Arial"/>
                <a:ea typeface="+mn-ea"/>
                <a:cs typeface="Arial"/>
              </a:rPr>
              <a:t>Flexibility</a:t>
            </a:r>
            <a:r>
              <a:rPr sz="1053" spc="-26">
                <a:solidFill>
                  <a:srgbClr val="FFFFFF"/>
                </a:solidFill>
                <a:latin typeface="Arial"/>
                <a:ea typeface="+mn-ea"/>
                <a:cs typeface="Arial"/>
              </a:rPr>
              <a:t> </a:t>
            </a:r>
            <a:r>
              <a:rPr sz="1053">
                <a:solidFill>
                  <a:srgbClr val="FFFFFF"/>
                </a:solidFill>
                <a:latin typeface="Arial"/>
                <a:ea typeface="+mn-ea"/>
                <a:cs typeface="Arial"/>
              </a:rPr>
              <a:t>for</a:t>
            </a:r>
            <a:r>
              <a:rPr sz="1053" spc="-18">
                <a:solidFill>
                  <a:srgbClr val="FFFFFF"/>
                </a:solidFill>
                <a:latin typeface="Arial"/>
                <a:ea typeface="+mn-ea"/>
                <a:cs typeface="Arial"/>
              </a:rPr>
              <a:t> </a:t>
            </a:r>
            <a:r>
              <a:rPr sz="1053">
                <a:solidFill>
                  <a:srgbClr val="FFFFFF"/>
                </a:solidFill>
                <a:latin typeface="Arial"/>
                <a:ea typeface="+mn-ea"/>
                <a:cs typeface="Arial"/>
              </a:rPr>
              <a:t>advisers</a:t>
            </a:r>
            <a:r>
              <a:rPr sz="1053" spc="-26">
                <a:solidFill>
                  <a:srgbClr val="FFFFFF"/>
                </a:solidFill>
                <a:latin typeface="Arial"/>
                <a:ea typeface="+mn-ea"/>
                <a:cs typeface="Arial"/>
              </a:rPr>
              <a:t> </a:t>
            </a:r>
            <a:r>
              <a:rPr sz="1053">
                <a:solidFill>
                  <a:srgbClr val="FFFFFF"/>
                </a:solidFill>
                <a:latin typeface="Arial"/>
                <a:ea typeface="+mn-ea"/>
                <a:cs typeface="Arial"/>
              </a:rPr>
              <a:t>and</a:t>
            </a:r>
            <a:r>
              <a:rPr sz="1053" spc="-26">
                <a:solidFill>
                  <a:srgbClr val="FFFFFF"/>
                </a:solidFill>
                <a:latin typeface="Arial"/>
                <a:ea typeface="+mn-ea"/>
                <a:cs typeface="Arial"/>
              </a:rPr>
              <a:t> </a:t>
            </a:r>
            <a:r>
              <a:rPr sz="1053" spc="-9">
                <a:solidFill>
                  <a:srgbClr val="FFFFFF"/>
                </a:solidFill>
                <a:latin typeface="Arial"/>
                <a:ea typeface="+mn-ea"/>
                <a:cs typeface="Arial"/>
              </a:rPr>
              <a:t>insights</a:t>
            </a:r>
            <a:endParaRPr sz="1053">
              <a:latin typeface="Arial"/>
              <a:ea typeface="+mn-ea"/>
              <a:cs typeface="Arial"/>
            </a:endParaRPr>
          </a:p>
          <a:p>
            <a:pPr marL="162075" algn="l" defTabSz="802020" rtl="0">
              <a:spcBef>
                <a:spcPts val="4"/>
              </a:spcBef>
              <a:defRPr/>
            </a:pPr>
            <a:r>
              <a:rPr sz="1053">
                <a:solidFill>
                  <a:srgbClr val="FFFFFF"/>
                </a:solidFill>
                <a:latin typeface="Arial"/>
                <a:ea typeface="+mn-ea"/>
                <a:cs typeface="Arial"/>
              </a:rPr>
              <a:t>for</a:t>
            </a:r>
            <a:r>
              <a:rPr sz="1053" spc="-18">
                <a:solidFill>
                  <a:srgbClr val="FFFFFF"/>
                </a:solidFill>
                <a:latin typeface="Arial"/>
                <a:ea typeface="+mn-ea"/>
                <a:cs typeface="Arial"/>
              </a:rPr>
              <a:t> </a:t>
            </a:r>
            <a:r>
              <a:rPr sz="1053" spc="-9">
                <a:solidFill>
                  <a:srgbClr val="FFFFFF"/>
                </a:solidFill>
                <a:latin typeface="Arial"/>
                <a:ea typeface="+mn-ea"/>
                <a:cs typeface="Arial"/>
              </a:rPr>
              <a:t>networks</a:t>
            </a:r>
            <a:endParaRPr sz="1053">
              <a:latin typeface="Arial"/>
              <a:ea typeface="+mn-ea"/>
              <a:cs typeface="Arial"/>
            </a:endParaRPr>
          </a:p>
        </p:txBody>
      </p:sp>
      <p:sp>
        <p:nvSpPr>
          <p:cNvPr id="46" name="object 46"/>
          <p:cNvSpPr txBox="1"/>
          <p:nvPr/>
        </p:nvSpPr>
        <p:spPr>
          <a:xfrm>
            <a:off x="7947423" y="4195627"/>
            <a:ext cx="1692564" cy="335311"/>
          </a:xfrm>
          <a:prstGeom prst="rect">
            <a:avLst/>
          </a:prstGeom>
        </p:spPr>
        <p:txBody>
          <a:bodyPr vert="horz" wrap="square" lIns="0" tIns="11139" rIns="0" bIns="0" rtlCol="0">
            <a:spAutoFit/>
          </a:bodyPr>
          <a:lstStyle/>
          <a:p>
            <a:pPr marL="162075" marR="4456" indent="-151493" algn="l" defTabSz="802020" rtl="0">
              <a:spcBef>
                <a:spcPts val="88"/>
              </a:spcBef>
              <a:buFontTx/>
              <a:buChar char="•"/>
              <a:tabLst>
                <a:tab pos="162075" algn="l"/>
              </a:tabLst>
              <a:defRPr/>
            </a:pPr>
            <a:r>
              <a:rPr sz="1053">
                <a:solidFill>
                  <a:srgbClr val="FFFFFF"/>
                </a:solidFill>
                <a:latin typeface="Arial"/>
                <a:ea typeface="+mn-ea"/>
                <a:cs typeface="Arial"/>
              </a:rPr>
              <a:t>Reporting</a:t>
            </a:r>
            <a:r>
              <a:rPr sz="1053" spc="-61">
                <a:solidFill>
                  <a:srgbClr val="FFFFFF"/>
                </a:solidFill>
                <a:latin typeface="Arial"/>
                <a:ea typeface="+mn-ea"/>
                <a:cs typeface="Arial"/>
              </a:rPr>
              <a:t> </a:t>
            </a:r>
            <a:r>
              <a:rPr sz="1053">
                <a:solidFill>
                  <a:srgbClr val="FFFFFF"/>
                </a:solidFill>
                <a:latin typeface="Arial"/>
                <a:ea typeface="+mn-ea"/>
                <a:cs typeface="Arial"/>
              </a:rPr>
              <a:t>and</a:t>
            </a:r>
            <a:r>
              <a:rPr sz="1053" spc="-39">
                <a:solidFill>
                  <a:srgbClr val="FFFFFF"/>
                </a:solidFill>
                <a:latin typeface="Arial"/>
                <a:ea typeface="+mn-ea"/>
                <a:cs typeface="Arial"/>
              </a:rPr>
              <a:t> </a:t>
            </a:r>
            <a:r>
              <a:rPr sz="1053">
                <a:solidFill>
                  <a:srgbClr val="FFFFFF"/>
                </a:solidFill>
                <a:latin typeface="Arial"/>
                <a:ea typeface="+mn-ea"/>
                <a:cs typeface="Arial"/>
              </a:rPr>
              <a:t>insights</a:t>
            </a:r>
            <a:r>
              <a:rPr sz="1053" spc="-26">
                <a:solidFill>
                  <a:srgbClr val="FFFFFF"/>
                </a:solidFill>
                <a:latin typeface="Arial"/>
                <a:ea typeface="+mn-ea"/>
                <a:cs typeface="Arial"/>
              </a:rPr>
              <a:t> </a:t>
            </a:r>
            <a:r>
              <a:rPr sz="1053" spc="-22">
                <a:solidFill>
                  <a:srgbClr val="FFFFFF"/>
                </a:solidFill>
                <a:latin typeface="Arial"/>
                <a:ea typeface="+mn-ea"/>
                <a:cs typeface="Arial"/>
              </a:rPr>
              <a:t>for </a:t>
            </a:r>
            <a:r>
              <a:rPr sz="1053" spc="-9">
                <a:solidFill>
                  <a:srgbClr val="FFFFFF"/>
                </a:solidFill>
                <a:latin typeface="Arial"/>
                <a:ea typeface="+mn-ea"/>
                <a:cs typeface="Arial"/>
              </a:rPr>
              <a:t>businesses</a:t>
            </a:r>
            <a:endParaRPr sz="1053">
              <a:latin typeface="Arial"/>
              <a:ea typeface="+mn-ea"/>
              <a:cs typeface="Arial"/>
            </a:endParaRPr>
          </a:p>
        </p:txBody>
      </p:sp>
      <p:sp>
        <p:nvSpPr>
          <p:cNvPr id="47" name="object 47"/>
          <p:cNvSpPr txBox="1"/>
          <p:nvPr/>
        </p:nvSpPr>
        <p:spPr>
          <a:xfrm>
            <a:off x="8597271" y="4993622"/>
            <a:ext cx="1572264" cy="874255"/>
          </a:xfrm>
          <a:prstGeom prst="rect">
            <a:avLst/>
          </a:prstGeom>
        </p:spPr>
        <p:txBody>
          <a:bodyPr vert="horz" wrap="square" lIns="0" tIns="10582" rIns="0" bIns="0" rtlCol="0">
            <a:spAutoFit/>
          </a:bodyPr>
          <a:lstStyle/>
          <a:p>
            <a:pPr marL="11139" marR="4456" algn="l" defTabSz="802020" rtl="0">
              <a:spcBef>
                <a:spcPts val="83"/>
              </a:spcBef>
              <a:defRPr/>
            </a:pPr>
            <a:r>
              <a:rPr sz="1403" b="1">
                <a:solidFill>
                  <a:srgbClr val="FFFFFF"/>
                </a:solidFill>
                <a:latin typeface="Arial"/>
                <a:ea typeface="+mn-ea"/>
                <a:cs typeface="Arial"/>
              </a:rPr>
              <a:t>And</a:t>
            </a:r>
            <a:r>
              <a:rPr sz="1403" b="1" spc="-18">
                <a:solidFill>
                  <a:srgbClr val="FFFFFF"/>
                </a:solidFill>
                <a:latin typeface="Arial"/>
                <a:ea typeface="+mn-ea"/>
                <a:cs typeface="Arial"/>
              </a:rPr>
              <a:t> </a:t>
            </a:r>
            <a:r>
              <a:rPr sz="1403" b="1" spc="-9">
                <a:solidFill>
                  <a:srgbClr val="FFFFFF"/>
                </a:solidFill>
                <a:latin typeface="Arial"/>
                <a:ea typeface="+mn-ea"/>
                <a:cs typeface="Arial"/>
              </a:rPr>
              <a:t>deliver </a:t>
            </a:r>
            <a:r>
              <a:rPr sz="1403" b="1">
                <a:solidFill>
                  <a:srgbClr val="FFFFFF"/>
                </a:solidFill>
                <a:latin typeface="Arial"/>
                <a:ea typeface="+mn-ea"/>
                <a:cs typeface="Arial"/>
              </a:rPr>
              <a:t>solutions</a:t>
            </a:r>
            <a:r>
              <a:rPr sz="1403" b="1" spc="-13">
                <a:solidFill>
                  <a:srgbClr val="FFFFFF"/>
                </a:solidFill>
                <a:latin typeface="Arial"/>
                <a:ea typeface="+mn-ea"/>
                <a:cs typeface="Arial"/>
              </a:rPr>
              <a:t> </a:t>
            </a:r>
            <a:r>
              <a:rPr sz="1403" b="1">
                <a:solidFill>
                  <a:srgbClr val="FFFFFF"/>
                </a:solidFill>
                <a:latin typeface="Arial"/>
                <a:ea typeface="+mn-ea"/>
                <a:cs typeface="Arial"/>
              </a:rPr>
              <a:t>to</a:t>
            </a:r>
            <a:r>
              <a:rPr sz="1403" b="1" spc="-22">
                <a:solidFill>
                  <a:srgbClr val="FFFFFF"/>
                </a:solidFill>
                <a:latin typeface="Arial"/>
                <a:ea typeface="+mn-ea"/>
                <a:cs typeface="Arial"/>
              </a:rPr>
              <a:t> </a:t>
            </a:r>
            <a:r>
              <a:rPr sz="1403" b="1" spc="-18">
                <a:solidFill>
                  <a:srgbClr val="FFFFFF"/>
                </a:solidFill>
                <a:latin typeface="Arial"/>
                <a:ea typeface="+mn-ea"/>
                <a:cs typeface="Arial"/>
              </a:rPr>
              <a:t>meet </a:t>
            </a:r>
            <a:r>
              <a:rPr sz="1403" b="1">
                <a:solidFill>
                  <a:srgbClr val="FFFFFF"/>
                </a:solidFill>
                <a:latin typeface="Arial"/>
                <a:ea typeface="+mn-ea"/>
                <a:cs typeface="Arial"/>
              </a:rPr>
              <a:t>needs</a:t>
            </a:r>
            <a:r>
              <a:rPr sz="1403" b="1" spc="-31">
                <a:solidFill>
                  <a:srgbClr val="FFFFFF"/>
                </a:solidFill>
                <a:latin typeface="Arial"/>
                <a:ea typeface="+mn-ea"/>
                <a:cs typeface="Arial"/>
              </a:rPr>
              <a:t> </a:t>
            </a:r>
            <a:r>
              <a:rPr sz="1403" b="1">
                <a:solidFill>
                  <a:srgbClr val="FFFFFF"/>
                </a:solidFill>
                <a:latin typeface="Arial"/>
                <a:ea typeface="+mn-ea"/>
                <a:cs typeface="Arial"/>
              </a:rPr>
              <a:t>across</a:t>
            </a:r>
            <a:r>
              <a:rPr sz="1403" b="1" spc="-26">
                <a:solidFill>
                  <a:srgbClr val="FFFFFF"/>
                </a:solidFill>
                <a:latin typeface="Arial"/>
                <a:ea typeface="+mn-ea"/>
                <a:cs typeface="Arial"/>
              </a:rPr>
              <a:t> </a:t>
            </a:r>
            <a:r>
              <a:rPr sz="1403" b="1" spc="-22">
                <a:solidFill>
                  <a:srgbClr val="FFFFFF"/>
                </a:solidFill>
                <a:latin typeface="Arial"/>
                <a:ea typeface="+mn-ea"/>
                <a:cs typeface="Arial"/>
              </a:rPr>
              <a:t>the </a:t>
            </a:r>
            <a:r>
              <a:rPr sz="1403" b="1">
                <a:solidFill>
                  <a:srgbClr val="FFFFFF"/>
                </a:solidFill>
                <a:latin typeface="Arial"/>
                <a:ea typeface="+mn-ea"/>
                <a:cs typeface="Arial"/>
              </a:rPr>
              <a:t>customer</a:t>
            </a:r>
            <a:r>
              <a:rPr sz="1403" b="1" spc="-66">
                <a:solidFill>
                  <a:srgbClr val="FFFFFF"/>
                </a:solidFill>
                <a:latin typeface="Arial"/>
                <a:ea typeface="+mn-ea"/>
                <a:cs typeface="Arial"/>
              </a:rPr>
              <a:t> </a:t>
            </a:r>
            <a:r>
              <a:rPr sz="1403" b="1" spc="-9">
                <a:solidFill>
                  <a:srgbClr val="FFFFFF"/>
                </a:solidFill>
                <a:latin typeface="Arial"/>
                <a:ea typeface="+mn-ea"/>
                <a:cs typeface="Arial"/>
              </a:rPr>
              <a:t>lifecycle</a:t>
            </a:r>
            <a:endParaRPr sz="1403">
              <a:latin typeface="Arial"/>
              <a:ea typeface="+mn-ea"/>
              <a:cs typeface="Arial"/>
            </a:endParaRPr>
          </a:p>
        </p:txBody>
      </p:sp>
      <p:sp>
        <p:nvSpPr>
          <p:cNvPr id="48" name="object 48"/>
          <p:cNvSpPr txBox="1"/>
          <p:nvPr/>
        </p:nvSpPr>
        <p:spPr>
          <a:xfrm>
            <a:off x="10233138" y="6444738"/>
            <a:ext cx="172097" cy="173280"/>
          </a:xfrm>
          <a:prstGeom prst="rect">
            <a:avLst/>
          </a:prstGeom>
        </p:spPr>
        <p:txBody>
          <a:bodyPr vert="horz" wrap="square" lIns="0" tIns="11139" rIns="0" bIns="0" rtlCol="0">
            <a:spAutoFit/>
          </a:bodyPr>
          <a:lstStyle/>
          <a:p>
            <a:pPr marL="11139" algn="l" defTabSz="802020" rtl="0">
              <a:spcBef>
                <a:spcPts val="88"/>
              </a:spcBef>
              <a:defRPr/>
            </a:pPr>
            <a:r>
              <a:rPr sz="1053" spc="-22" dirty="0">
                <a:solidFill>
                  <a:srgbClr val="FFFFFF"/>
                </a:solidFill>
                <a:latin typeface="Arial"/>
                <a:ea typeface="+mn-ea"/>
                <a:cs typeface="Arial"/>
              </a:rPr>
              <a:t>27</a:t>
            </a:r>
            <a:endParaRPr sz="1053" dirty="0">
              <a:latin typeface="Arial"/>
              <a:ea typeface="+mn-ea"/>
              <a:cs typeface="Arial"/>
            </a:endParaRPr>
          </a:p>
        </p:txBody>
      </p:sp>
    </p:spTree>
    <p:extLst>
      <p:ext uri="{BB962C8B-B14F-4D97-AF65-F5344CB8AC3E}">
        <p14:creationId xmlns:p14="http://schemas.microsoft.com/office/powerpoint/2010/main" val="10820002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148893-029D-964B-52CB-77C0CE6155C7}"/>
              </a:ext>
            </a:extLst>
          </p:cNvPr>
          <p:cNvSpPr>
            <a:spLocks noGrp="1"/>
          </p:cNvSpPr>
          <p:nvPr>
            <p:ph type="sldNum" sz="quarter" idx="7"/>
          </p:nvPr>
        </p:nvSpPr>
        <p:spPr/>
        <p:txBody>
          <a:bodyPr/>
          <a:lstStyle/>
          <a:p>
            <a:fld id="{B6F15528-21DE-4FAA-801E-634DDDAF4B2B}" type="slidenum">
              <a:rPr lang="en-AU" smtClean="0"/>
              <a:t>2</a:t>
            </a:fld>
            <a:endParaRPr lang="en-AU"/>
          </a:p>
        </p:txBody>
      </p:sp>
      <p:pic>
        <p:nvPicPr>
          <p:cNvPr id="4" name="Picture 3">
            <a:extLst>
              <a:ext uri="{FF2B5EF4-FFF2-40B4-BE49-F238E27FC236}">
                <a16:creationId xmlns:a16="http://schemas.microsoft.com/office/drawing/2014/main" id="{5435618B-F972-643A-41C2-3DFAA85BF53B}"/>
              </a:ext>
            </a:extLst>
          </p:cNvPr>
          <p:cNvPicPr>
            <a:picLocks noChangeAspect="1"/>
          </p:cNvPicPr>
          <p:nvPr/>
        </p:nvPicPr>
        <p:blipFill>
          <a:blip r:embed="rId2"/>
          <a:srcRect t="17104"/>
          <a:stretch/>
        </p:blipFill>
        <p:spPr>
          <a:xfrm>
            <a:off x="1003300" y="2101850"/>
            <a:ext cx="9340777" cy="4431769"/>
          </a:xfrm>
          <a:prstGeom prst="rect">
            <a:avLst/>
          </a:prstGeom>
        </p:spPr>
      </p:pic>
      <p:sp>
        <p:nvSpPr>
          <p:cNvPr id="5" name="TextBox 4">
            <a:extLst>
              <a:ext uri="{FF2B5EF4-FFF2-40B4-BE49-F238E27FC236}">
                <a16:creationId xmlns:a16="http://schemas.microsoft.com/office/drawing/2014/main" id="{336FE269-B977-37B3-E2DE-8707F99144A5}"/>
              </a:ext>
            </a:extLst>
          </p:cNvPr>
          <p:cNvSpPr txBox="1"/>
          <p:nvPr/>
        </p:nvSpPr>
        <p:spPr>
          <a:xfrm>
            <a:off x="994229" y="1263650"/>
            <a:ext cx="4180381" cy="523220"/>
          </a:xfrm>
          <a:prstGeom prst="rect">
            <a:avLst/>
          </a:prstGeom>
          <a:noFill/>
        </p:spPr>
        <p:txBody>
          <a:bodyPr wrap="square" rtlCol="0">
            <a:spAutoFit/>
          </a:bodyPr>
          <a:lstStyle/>
          <a:p>
            <a:r>
              <a:rPr lang="en-AU" sz="2800" dirty="0">
                <a:solidFill>
                  <a:srgbClr val="B68150"/>
                </a:solidFill>
                <a:latin typeface="Montserrat Medium" pitchFamily="2" charset="0"/>
              </a:rPr>
              <a:t>AGENDA DAY 1:</a:t>
            </a:r>
          </a:p>
        </p:txBody>
      </p:sp>
    </p:spTree>
    <p:extLst>
      <p:ext uri="{BB962C8B-B14F-4D97-AF65-F5344CB8AC3E}">
        <p14:creationId xmlns:p14="http://schemas.microsoft.com/office/powerpoint/2010/main" val="3311209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195C7-ECDC-A48B-1302-9C7C8A36E055}"/>
            </a:ext>
          </a:extLst>
        </p:cNvPr>
        <p:cNvGrpSpPr/>
        <p:nvPr/>
      </p:nvGrpSpPr>
      <p:grpSpPr>
        <a:xfrm>
          <a:off x="0" y="0"/>
          <a:ext cx="0" cy="0"/>
          <a:chOff x="0" y="0"/>
          <a:chExt cx="0" cy="0"/>
        </a:xfrm>
      </p:grpSpPr>
      <p:sp>
        <p:nvSpPr>
          <p:cNvPr id="14" name="Title 3">
            <a:extLst>
              <a:ext uri="{FF2B5EF4-FFF2-40B4-BE49-F238E27FC236}">
                <a16:creationId xmlns:a16="http://schemas.microsoft.com/office/drawing/2014/main" id="{675ACBF0-AC5A-575F-C35C-AADF552DCB89}"/>
              </a:ext>
            </a:extLst>
          </p:cNvPr>
          <p:cNvSpPr>
            <a:spLocks noGrp="1"/>
          </p:cNvSpPr>
          <p:nvPr>
            <p:ph type="title"/>
          </p:nvPr>
        </p:nvSpPr>
        <p:spPr>
          <a:xfrm>
            <a:off x="639660" y="787846"/>
            <a:ext cx="9379496" cy="867930"/>
          </a:xfrm>
        </p:spPr>
        <p:txBody>
          <a:bodyPr/>
          <a:lstStyle/>
          <a:p>
            <a:r>
              <a:rPr lang="en-AU" sz="2800" b="1" dirty="0"/>
              <a:t>HUB24 Group – market leading capability </a:t>
            </a:r>
            <a:br>
              <a:rPr lang="en-AU" sz="2800" b="1" dirty="0"/>
            </a:br>
            <a:r>
              <a:rPr lang="en-AU" sz="2800" b="1" dirty="0"/>
              <a:t>driving customer value &amp; growth</a:t>
            </a:r>
            <a:endParaRPr lang="en-AU" sz="2800" b="1" dirty="0">
              <a:latin typeface="Arial" panose="020B0604020202020204"/>
            </a:endParaRPr>
          </a:p>
        </p:txBody>
      </p:sp>
      <p:sp>
        <p:nvSpPr>
          <p:cNvPr id="6" name="Rectangle: Rounded Corners 5">
            <a:extLst>
              <a:ext uri="{FF2B5EF4-FFF2-40B4-BE49-F238E27FC236}">
                <a16:creationId xmlns:a16="http://schemas.microsoft.com/office/drawing/2014/main" id="{38FDBB93-DF25-C1D1-7E2D-41205BE93B78}"/>
              </a:ext>
            </a:extLst>
          </p:cNvPr>
          <p:cNvSpPr/>
          <p:nvPr/>
        </p:nvSpPr>
        <p:spPr>
          <a:xfrm>
            <a:off x="5461348" y="2131317"/>
            <a:ext cx="4693991" cy="3947875"/>
          </a:xfrm>
          <a:prstGeom prst="roundRect">
            <a:avLst>
              <a:gd name="adj" fmla="val 1923"/>
            </a:avLst>
          </a:prstGeom>
          <a:solidFill>
            <a:srgbClr val="1F2D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85" rtl="0">
              <a:defRPr/>
            </a:pPr>
            <a:endParaRPr lang="en-US" sz="1579" kern="1200">
              <a:solidFill>
                <a:prstClr val="white"/>
              </a:solidFill>
              <a:latin typeface="Arial" panose="020B0604020202020204"/>
            </a:endParaRPr>
          </a:p>
        </p:txBody>
      </p:sp>
      <p:sp>
        <p:nvSpPr>
          <p:cNvPr id="7" name="Rectangle: Rounded Corners 6">
            <a:extLst>
              <a:ext uri="{FF2B5EF4-FFF2-40B4-BE49-F238E27FC236}">
                <a16:creationId xmlns:a16="http://schemas.microsoft.com/office/drawing/2014/main" id="{5F843199-3C43-A666-8096-4B4017B2133B}"/>
              </a:ext>
            </a:extLst>
          </p:cNvPr>
          <p:cNvSpPr/>
          <p:nvPr/>
        </p:nvSpPr>
        <p:spPr>
          <a:xfrm>
            <a:off x="660653" y="2124936"/>
            <a:ext cx="4693991" cy="3947875"/>
          </a:xfrm>
          <a:prstGeom prst="roundRect">
            <a:avLst>
              <a:gd name="adj" fmla="val 1923"/>
            </a:avLst>
          </a:prstGeom>
          <a:solidFill>
            <a:srgbClr val="1F2D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85" rtl="0">
              <a:defRPr/>
            </a:pPr>
            <a:endParaRPr lang="en-US" sz="1579" kern="1200">
              <a:solidFill>
                <a:prstClr val="white"/>
              </a:solidFill>
              <a:latin typeface="Arial" panose="020B0604020202020204"/>
            </a:endParaRPr>
          </a:p>
        </p:txBody>
      </p:sp>
      <p:sp>
        <p:nvSpPr>
          <p:cNvPr id="10" name="Title 2">
            <a:extLst>
              <a:ext uri="{FF2B5EF4-FFF2-40B4-BE49-F238E27FC236}">
                <a16:creationId xmlns:a16="http://schemas.microsoft.com/office/drawing/2014/main" id="{D693CB5B-3B5B-3FA8-D5A5-0727F0384748}"/>
              </a:ext>
            </a:extLst>
          </p:cNvPr>
          <p:cNvSpPr txBox="1">
            <a:spLocks/>
          </p:cNvSpPr>
          <p:nvPr/>
        </p:nvSpPr>
        <p:spPr>
          <a:xfrm>
            <a:off x="1177269" y="3635944"/>
            <a:ext cx="1387423" cy="315856"/>
          </a:xfrm>
          <a:prstGeom prst="rect">
            <a:avLst/>
          </a:prstGeom>
        </p:spPr>
        <p:txBody>
          <a:bodyPr vert="horz" wrap="square" lIns="0" tIns="0" rIns="0" bIns="0" rtlCol="0" anchor="t">
            <a:spAutoFit/>
          </a:bodyPr>
          <a:lstStyle>
            <a:lvl1pPr marL="0" algn="l" defTabSz="685800" rtl="0" eaLnBrk="1" latinLnBrk="0" hangingPunct="1">
              <a:lnSpc>
                <a:spcPct val="90000"/>
              </a:lnSpc>
              <a:spcBef>
                <a:spcPct val="0"/>
              </a:spcBef>
              <a:buNone/>
              <a:defRPr lang="en-US" sz="2000" b="0" i="0" kern="1200" cap="all" spc="0" baseline="0">
                <a:solidFill>
                  <a:schemeClr val="bg1"/>
                </a:solidFill>
                <a:latin typeface="Arial" panose="020B0604020202020204" pitchFamily="34" charset="0"/>
                <a:ea typeface="+mj-ea"/>
                <a:cs typeface="Arial" panose="020B0604020202020204" pitchFamily="34" charset="0"/>
              </a:defRPr>
            </a:lvl1pPr>
          </a:lstStyle>
          <a:p>
            <a:pPr defTabSz="802027">
              <a:spcBef>
                <a:spcPts val="702"/>
              </a:spcBef>
              <a:defRPr/>
            </a:pPr>
            <a:r>
              <a:rPr lang="en-US" sz="1053" cap="none">
                <a:solidFill>
                  <a:prstClr val="white"/>
                </a:solidFill>
                <a:latin typeface="Arial" panose="020B0604020202020204"/>
                <a:cs typeface="Arial"/>
              </a:rPr>
              <a:t>Platform </a:t>
            </a:r>
            <a:r>
              <a:rPr lang="en-US" sz="1053">
                <a:solidFill>
                  <a:prstClr val="white"/>
                </a:solidFill>
                <a:latin typeface="Arial"/>
                <a:cs typeface="Arial"/>
              </a:rPr>
              <a:t>FUA</a:t>
            </a:r>
            <a:br>
              <a:rPr lang="en-US" sz="1228">
                <a:solidFill>
                  <a:prstClr val="white"/>
                </a:solidFill>
              </a:rPr>
            </a:br>
            <a:r>
              <a:rPr lang="en-US" sz="1228" b="1">
                <a:solidFill>
                  <a:srgbClr val="FFBE37"/>
                </a:solidFill>
                <a:latin typeface="Arial"/>
                <a:cs typeface="Arial"/>
              </a:rPr>
              <a:t>$</a:t>
            </a:r>
            <a:r>
              <a:rPr lang="en-US" sz="1228" b="1" cap="none">
                <a:solidFill>
                  <a:srgbClr val="FFBE37"/>
                </a:solidFill>
                <a:latin typeface="Arial"/>
                <a:cs typeface="Arial"/>
              </a:rPr>
              <a:t>98.9b	</a:t>
            </a:r>
            <a:endParaRPr lang="en-US" sz="1228" b="1">
              <a:solidFill>
                <a:srgbClr val="FFBE37"/>
              </a:solidFill>
              <a:latin typeface="Arial"/>
              <a:cs typeface="Arial"/>
            </a:endParaRPr>
          </a:p>
        </p:txBody>
      </p:sp>
      <p:sp>
        <p:nvSpPr>
          <p:cNvPr id="11" name="Title 2">
            <a:extLst>
              <a:ext uri="{FF2B5EF4-FFF2-40B4-BE49-F238E27FC236}">
                <a16:creationId xmlns:a16="http://schemas.microsoft.com/office/drawing/2014/main" id="{FB5CB947-6A59-029F-D583-6A5B3722BBF5}"/>
              </a:ext>
            </a:extLst>
          </p:cNvPr>
          <p:cNvSpPr txBox="1">
            <a:spLocks/>
          </p:cNvSpPr>
          <p:nvPr/>
        </p:nvSpPr>
        <p:spPr>
          <a:xfrm>
            <a:off x="1177271" y="4144326"/>
            <a:ext cx="1041881" cy="461665"/>
          </a:xfrm>
          <a:prstGeom prst="rect">
            <a:avLst/>
          </a:prstGeom>
        </p:spPr>
        <p:txBody>
          <a:bodyPr vert="horz" wrap="square" lIns="0" tIns="0" rIns="0" bIns="0" rtlCol="0" anchor="t">
            <a:spAutoFit/>
          </a:bodyPr>
          <a:lstStyle>
            <a:lvl1pPr marL="0" algn="l" defTabSz="685800" rtl="0" eaLnBrk="1" latinLnBrk="0" hangingPunct="1">
              <a:lnSpc>
                <a:spcPct val="90000"/>
              </a:lnSpc>
              <a:spcBef>
                <a:spcPct val="0"/>
              </a:spcBef>
              <a:buNone/>
              <a:defRPr lang="en-US" sz="2000" b="0" i="0" kern="1200" cap="all" spc="0" baseline="0">
                <a:solidFill>
                  <a:schemeClr val="bg1"/>
                </a:solidFill>
                <a:latin typeface="Arial" panose="020B0604020202020204" pitchFamily="34" charset="0"/>
                <a:ea typeface="+mj-ea"/>
                <a:cs typeface="Arial" panose="020B0604020202020204" pitchFamily="34" charset="0"/>
              </a:defRPr>
            </a:lvl1pPr>
          </a:lstStyle>
          <a:p>
            <a:pPr defTabSz="829826">
              <a:spcBef>
                <a:spcPts val="702"/>
              </a:spcBef>
              <a:defRPr/>
            </a:pPr>
            <a:r>
              <a:rPr lang="en-US" sz="1228" b="1">
                <a:solidFill>
                  <a:srgbClr val="FFBE37"/>
                </a:solidFill>
                <a:latin typeface="Arial"/>
                <a:cs typeface="Arial"/>
              </a:rPr>
              <a:t>4,886</a:t>
            </a:r>
            <a:br>
              <a:rPr lang="en-US" sz="1228" b="1">
                <a:solidFill>
                  <a:srgbClr val="FFBE37"/>
                </a:solidFill>
                <a:latin typeface="Arial"/>
                <a:cs typeface="Arial"/>
              </a:rPr>
            </a:br>
            <a:r>
              <a:rPr lang="en-US" sz="1053" cap="none">
                <a:solidFill>
                  <a:prstClr val="white"/>
                </a:solidFill>
                <a:latin typeface="Arial"/>
                <a:cs typeface="Arial"/>
              </a:rPr>
              <a:t>Advisers using the platform</a:t>
            </a:r>
            <a:endParaRPr lang="en-AU" sz="1053" cap="none">
              <a:solidFill>
                <a:prstClr val="white"/>
              </a:solidFill>
              <a:latin typeface="Arial" panose="020B0604020202020204"/>
              <a:cs typeface="Arial"/>
            </a:endParaRPr>
          </a:p>
        </p:txBody>
      </p:sp>
      <p:pic>
        <p:nvPicPr>
          <p:cNvPr id="12" name="Picture 11">
            <a:extLst>
              <a:ext uri="{FF2B5EF4-FFF2-40B4-BE49-F238E27FC236}">
                <a16:creationId xmlns:a16="http://schemas.microsoft.com/office/drawing/2014/main" id="{743B4C66-3F6D-A9CC-271F-CCC81FBA04B1}"/>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p:blipFill>
        <p:spPr>
          <a:xfrm>
            <a:off x="1107046" y="2238050"/>
            <a:ext cx="572144" cy="148875"/>
          </a:xfrm>
          <a:prstGeom prst="rect">
            <a:avLst/>
          </a:prstGeom>
        </p:spPr>
      </p:pic>
      <p:pic>
        <p:nvPicPr>
          <p:cNvPr id="13" name="Picture 12" descr="Logo, icon&#10;&#10;Description automatically generated">
            <a:extLst>
              <a:ext uri="{FF2B5EF4-FFF2-40B4-BE49-F238E27FC236}">
                <a16:creationId xmlns:a16="http://schemas.microsoft.com/office/drawing/2014/main" id="{DC8066D7-82A2-2399-A834-ED78BB3C1A8F}"/>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606516" y="2239727"/>
            <a:ext cx="685480" cy="177338"/>
          </a:xfrm>
          <a:prstGeom prst="rect">
            <a:avLst/>
          </a:prstGeom>
        </p:spPr>
      </p:pic>
      <p:sp>
        <p:nvSpPr>
          <p:cNvPr id="15" name="Title 2">
            <a:extLst>
              <a:ext uri="{FF2B5EF4-FFF2-40B4-BE49-F238E27FC236}">
                <a16:creationId xmlns:a16="http://schemas.microsoft.com/office/drawing/2014/main" id="{6D20A37A-226B-6D42-BFFC-F87D3537748F}"/>
              </a:ext>
            </a:extLst>
          </p:cNvPr>
          <p:cNvSpPr txBox="1">
            <a:spLocks/>
          </p:cNvSpPr>
          <p:nvPr/>
        </p:nvSpPr>
        <p:spPr>
          <a:xfrm>
            <a:off x="2756917" y="3635944"/>
            <a:ext cx="1387423" cy="315856"/>
          </a:xfrm>
          <a:prstGeom prst="rect">
            <a:avLst/>
          </a:prstGeom>
        </p:spPr>
        <p:txBody>
          <a:bodyPr vert="horz" wrap="square" lIns="0" tIns="0" rIns="0" bIns="0" rtlCol="0" anchor="t">
            <a:spAutoFit/>
          </a:bodyPr>
          <a:lstStyle>
            <a:lvl1pPr marL="0" algn="l" defTabSz="685800" rtl="0" eaLnBrk="1" latinLnBrk="0" hangingPunct="1">
              <a:lnSpc>
                <a:spcPct val="90000"/>
              </a:lnSpc>
              <a:spcBef>
                <a:spcPct val="0"/>
              </a:spcBef>
              <a:buNone/>
              <a:defRPr lang="en-US" sz="2000" b="0" i="0" kern="1200" cap="all" spc="0" baseline="0">
                <a:solidFill>
                  <a:schemeClr val="bg1"/>
                </a:solidFill>
                <a:latin typeface="Arial" panose="020B0604020202020204" pitchFamily="34" charset="0"/>
                <a:ea typeface="+mj-ea"/>
                <a:cs typeface="Arial" panose="020B0604020202020204" pitchFamily="34" charset="0"/>
              </a:defRPr>
            </a:lvl1pPr>
          </a:lstStyle>
          <a:p>
            <a:pPr defTabSz="802027">
              <a:spcBef>
                <a:spcPts val="702"/>
              </a:spcBef>
              <a:defRPr/>
            </a:pPr>
            <a:r>
              <a:rPr lang="en-US" sz="1053">
                <a:solidFill>
                  <a:prstClr val="white"/>
                </a:solidFill>
                <a:latin typeface="Arial"/>
                <a:cs typeface="Arial"/>
              </a:rPr>
              <a:t>PARS FUA</a:t>
            </a:r>
            <a:br>
              <a:rPr lang="en-US" sz="1053">
                <a:solidFill>
                  <a:prstClr val="white"/>
                </a:solidFill>
              </a:rPr>
            </a:br>
            <a:r>
              <a:rPr lang="en-US" sz="1228" b="1" cap="none">
                <a:solidFill>
                  <a:srgbClr val="FFBE37"/>
                </a:solidFill>
                <a:latin typeface="Arial"/>
                <a:cs typeface="Arial"/>
              </a:rPr>
              <a:t>$22.0b</a:t>
            </a:r>
            <a:r>
              <a:rPr lang="en-US" sz="1228" b="1">
                <a:solidFill>
                  <a:srgbClr val="FFBE37"/>
                </a:solidFill>
                <a:latin typeface="Arial"/>
                <a:cs typeface="Arial"/>
              </a:rPr>
              <a:t>	</a:t>
            </a:r>
          </a:p>
        </p:txBody>
      </p:sp>
      <p:pic>
        <p:nvPicPr>
          <p:cNvPr id="17" name="Picture 16" descr="Logo&#10;&#10;Description automatically generated">
            <a:extLst>
              <a:ext uri="{FF2B5EF4-FFF2-40B4-BE49-F238E27FC236}">
                <a16:creationId xmlns:a16="http://schemas.microsoft.com/office/drawing/2014/main" id="{78B34290-BD99-E55E-CFB3-049A0D7D3846}"/>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123317" y="2077589"/>
            <a:ext cx="1162505" cy="461015"/>
          </a:xfrm>
          <a:prstGeom prst="rect">
            <a:avLst/>
          </a:prstGeom>
        </p:spPr>
      </p:pic>
      <p:cxnSp>
        <p:nvCxnSpPr>
          <p:cNvPr id="18" name="Straight Connector 17">
            <a:extLst>
              <a:ext uri="{FF2B5EF4-FFF2-40B4-BE49-F238E27FC236}">
                <a16:creationId xmlns:a16="http://schemas.microsoft.com/office/drawing/2014/main" id="{26519556-EAB5-64AE-E98D-5F7860AB695A}"/>
              </a:ext>
            </a:extLst>
          </p:cNvPr>
          <p:cNvCxnSpPr>
            <a:cxnSpLocks/>
          </p:cNvCxnSpPr>
          <p:nvPr/>
        </p:nvCxnSpPr>
        <p:spPr>
          <a:xfrm>
            <a:off x="5603426" y="3365140"/>
            <a:ext cx="195759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BC91D57-EB75-F58F-AEE8-A62CB4AEF935}"/>
              </a:ext>
            </a:extLst>
          </p:cNvPr>
          <p:cNvSpPr txBox="1"/>
          <p:nvPr/>
        </p:nvSpPr>
        <p:spPr>
          <a:xfrm>
            <a:off x="5616574" y="3517979"/>
            <a:ext cx="2007426" cy="1692386"/>
          </a:xfrm>
          <a:prstGeom prst="rect">
            <a:avLst/>
          </a:prstGeom>
          <a:noFill/>
        </p:spPr>
        <p:txBody>
          <a:bodyPr wrap="square" lIns="0" tIns="0" rIns="0" bIns="0" rtlCol="0">
            <a:spAutoFit/>
          </a:bodyPr>
          <a:lstStyle>
            <a:defPPr>
              <a:defRPr lang="en-US"/>
            </a:defPPr>
            <a:lvl1pPr marL="111125" indent="-111125" defTabSz="709571">
              <a:buClr>
                <a:schemeClr val="accent3"/>
              </a:buClr>
              <a:buFont typeface="Arial" panose="020B0604020202020204" pitchFamily="34" charset="0"/>
              <a:buChar char="•"/>
              <a:defRPr sz="900">
                <a:solidFill>
                  <a:prstClr val="white"/>
                </a:solidFill>
                <a:latin typeface="+mj-lt"/>
              </a:defRPr>
            </a:lvl1pPr>
          </a:lstStyle>
          <a:p>
            <a:pPr marL="0" indent="0" algn="l" defTabSz="829826" rtl="0">
              <a:buClr>
                <a:srgbClr val="FFBE37"/>
              </a:buClr>
              <a:buNone/>
              <a:defRPr/>
            </a:pPr>
            <a:r>
              <a:rPr lang="en-AU" sz="1287" b="1" kern="1200">
                <a:solidFill>
                  <a:srgbClr val="FFBE37"/>
                </a:solidFill>
                <a:latin typeface="Arial" panose="020B0604020202020204"/>
                <a:ea typeface="+mn-ea"/>
                <a:cs typeface="+mn-cs"/>
              </a:rPr>
              <a:t>HUBconnect</a:t>
            </a:r>
            <a:r>
              <a:rPr lang="en-US" sz="1287" b="1" kern="1200">
                <a:solidFill>
                  <a:srgbClr val="FFBE37"/>
                </a:solidFill>
                <a:latin typeface="Arial" panose="020B0604020202020204"/>
                <a:ea typeface="+mn-ea"/>
                <a:cs typeface="+mn-cs"/>
              </a:rPr>
              <a:t> Broker </a:t>
            </a:r>
          </a:p>
          <a:p>
            <a:pPr marL="0" indent="0" algn="l" defTabSz="829826" rtl="0">
              <a:buClr>
                <a:srgbClr val="FFBE37"/>
              </a:buClr>
              <a:buNone/>
              <a:defRPr/>
            </a:pPr>
            <a:r>
              <a:rPr lang="en-US" sz="1053" kern="1200">
                <a:latin typeface="Arial" panose="020B0604020202020204"/>
                <a:ea typeface="+mn-ea"/>
                <a:cs typeface="+mn-cs"/>
              </a:rPr>
              <a:t>Customer management &amp; operational support for stockbrokers</a:t>
            </a:r>
          </a:p>
          <a:p>
            <a:pPr marL="0" indent="0" algn="l" defTabSz="829826" rtl="0">
              <a:buClr>
                <a:srgbClr val="FFBE37"/>
              </a:buClr>
              <a:buNone/>
              <a:defRPr/>
            </a:pPr>
            <a:r>
              <a:rPr lang="en-US" sz="1053" kern="1200">
                <a:latin typeface="Arial" panose="020B0604020202020204"/>
                <a:ea typeface="+mn-ea"/>
                <a:cs typeface="+mn-cs"/>
              </a:rPr>
              <a:t> </a:t>
            </a:r>
          </a:p>
          <a:p>
            <a:pPr marL="0" indent="0" algn="l" defTabSz="829826" rtl="0">
              <a:buClr>
                <a:srgbClr val="FFBE37"/>
              </a:buClr>
              <a:buNone/>
              <a:defRPr/>
            </a:pPr>
            <a:r>
              <a:rPr lang="en-US" sz="1287" b="1" kern="1200">
                <a:solidFill>
                  <a:srgbClr val="FFBE37"/>
                </a:solidFill>
                <a:latin typeface="Arial" panose="020B0604020202020204"/>
                <a:ea typeface="+mn-ea"/>
                <a:cs typeface="+mn-cs"/>
              </a:rPr>
              <a:t>HUBconnect Licensee</a:t>
            </a:r>
          </a:p>
          <a:p>
            <a:pPr marL="0" indent="0" algn="l" defTabSz="829826" rtl="0">
              <a:buClr>
                <a:srgbClr val="FFBE37"/>
              </a:buClr>
              <a:buNone/>
              <a:defRPr/>
            </a:pPr>
            <a:r>
              <a:rPr lang="en-US" sz="1053" kern="1200">
                <a:latin typeface="Arial" panose="020B0604020202020204"/>
                <a:ea typeface="+mn-ea"/>
                <a:cs typeface="+mn-cs"/>
              </a:rPr>
              <a:t>Database insights to support advice licensees with business management &amp; compliance obligations </a:t>
            </a:r>
            <a:endParaRPr lang="en-US" sz="1053" b="1" kern="1200">
              <a:latin typeface="Arial" panose="020B0604020202020204"/>
              <a:ea typeface="+mn-ea"/>
              <a:cs typeface="+mn-cs"/>
            </a:endParaRPr>
          </a:p>
        </p:txBody>
      </p:sp>
      <p:cxnSp>
        <p:nvCxnSpPr>
          <p:cNvPr id="20" name="Straight Connector 19">
            <a:extLst>
              <a:ext uri="{FF2B5EF4-FFF2-40B4-BE49-F238E27FC236}">
                <a16:creationId xmlns:a16="http://schemas.microsoft.com/office/drawing/2014/main" id="{7A3BA8D2-28FE-CC87-024C-DEEC909FA671}"/>
              </a:ext>
            </a:extLst>
          </p:cNvPr>
          <p:cNvCxnSpPr>
            <a:cxnSpLocks/>
          </p:cNvCxnSpPr>
          <p:nvPr/>
        </p:nvCxnSpPr>
        <p:spPr>
          <a:xfrm>
            <a:off x="5603429" y="2491029"/>
            <a:ext cx="445632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AD540A1-E8C2-652F-2E54-71FFA70B440F}"/>
              </a:ext>
            </a:extLst>
          </p:cNvPr>
          <p:cNvCxnSpPr>
            <a:cxnSpLocks/>
          </p:cNvCxnSpPr>
          <p:nvPr/>
        </p:nvCxnSpPr>
        <p:spPr>
          <a:xfrm>
            <a:off x="803555" y="2491029"/>
            <a:ext cx="440422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9D8F2D7-E6F6-DAF0-E5EE-56FF3AD713E7}"/>
              </a:ext>
            </a:extLst>
          </p:cNvPr>
          <p:cNvCxnSpPr>
            <a:cxnSpLocks/>
          </p:cNvCxnSpPr>
          <p:nvPr/>
        </p:nvCxnSpPr>
        <p:spPr>
          <a:xfrm>
            <a:off x="804311" y="3474609"/>
            <a:ext cx="13261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1EBE7AC-CA7B-9D35-3C2A-B9008FEC4ED2}"/>
              </a:ext>
            </a:extLst>
          </p:cNvPr>
          <p:cNvCxnSpPr>
            <a:cxnSpLocks/>
          </p:cNvCxnSpPr>
          <p:nvPr/>
        </p:nvCxnSpPr>
        <p:spPr>
          <a:xfrm>
            <a:off x="2322525" y="3474609"/>
            <a:ext cx="13261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4F757D9-CBCE-ECF7-644C-B8CFD620B015}"/>
              </a:ext>
            </a:extLst>
          </p:cNvPr>
          <p:cNvSpPr txBox="1"/>
          <p:nvPr/>
        </p:nvSpPr>
        <p:spPr>
          <a:xfrm>
            <a:off x="909465" y="2988857"/>
            <a:ext cx="1273436" cy="452688"/>
          </a:xfrm>
          <a:prstGeom prst="rect">
            <a:avLst/>
          </a:prstGeom>
          <a:noFill/>
        </p:spPr>
        <p:txBody>
          <a:bodyPr wrap="square" rtlCol="0">
            <a:spAutoFit/>
          </a:bodyPr>
          <a:lstStyle/>
          <a:p>
            <a:pPr algn="ctr" defTabSz="534685" rtl="0">
              <a:defRPr/>
            </a:pPr>
            <a:r>
              <a:rPr lang="en-US" sz="1171" kern="1200">
                <a:solidFill>
                  <a:prstClr val="white"/>
                </a:solidFill>
                <a:latin typeface="Arial" panose="020B0604020202020204"/>
                <a:ea typeface="+mn-ea"/>
                <a:cs typeface="+mn-cs"/>
              </a:rPr>
              <a:t>Custodial administration</a:t>
            </a:r>
            <a:endParaRPr lang="en-AU" sz="1171" kern="1200">
              <a:solidFill>
                <a:prstClr val="white"/>
              </a:solidFill>
              <a:latin typeface="Arial" panose="020B0604020202020204"/>
              <a:ea typeface="+mn-ea"/>
              <a:cs typeface="+mn-cs"/>
            </a:endParaRPr>
          </a:p>
        </p:txBody>
      </p:sp>
      <p:sp>
        <p:nvSpPr>
          <p:cNvPr id="25" name="TextBox 24">
            <a:extLst>
              <a:ext uri="{FF2B5EF4-FFF2-40B4-BE49-F238E27FC236}">
                <a16:creationId xmlns:a16="http://schemas.microsoft.com/office/drawing/2014/main" id="{1A51A1CB-ACAD-BAEB-E587-D1DA7851E635}"/>
              </a:ext>
            </a:extLst>
          </p:cNvPr>
          <p:cNvSpPr txBox="1"/>
          <p:nvPr/>
        </p:nvSpPr>
        <p:spPr>
          <a:xfrm>
            <a:off x="2431713" y="2973659"/>
            <a:ext cx="1231990" cy="452688"/>
          </a:xfrm>
          <a:prstGeom prst="rect">
            <a:avLst/>
          </a:prstGeom>
          <a:noFill/>
        </p:spPr>
        <p:txBody>
          <a:bodyPr wrap="square" rtlCol="0">
            <a:spAutoFit/>
          </a:bodyPr>
          <a:lstStyle/>
          <a:p>
            <a:pPr algn="l" defTabSz="534685" rtl="0">
              <a:defRPr/>
            </a:pPr>
            <a:r>
              <a:rPr lang="en-US" sz="1171" kern="1200">
                <a:solidFill>
                  <a:prstClr val="white"/>
                </a:solidFill>
                <a:latin typeface="Arial" panose="020B0604020202020204"/>
                <a:ea typeface="+mn-ea"/>
                <a:cs typeface="+mn-cs"/>
              </a:rPr>
              <a:t>Non-custodial administration</a:t>
            </a:r>
            <a:endParaRPr lang="en-AU" sz="1171" kern="1200">
              <a:solidFill>
                <a:prstClr val="white"/>
              </a:solidFill>
              <a:latin typeface="Arial" panose="020B0604020202020204"/>
              <a:ea typeface="+mn-ea"/>
              <a:cs typeface="+mn-cs"/>
            </a:endParaRPr>
          </a:p>
        </p:txBody>
      </p:sp>
      <p:sp>
        <p:nvSpPr>
          <p:cNvPr id="29" name="Rectangle: Rounded Corners 28">
            <a:extLst>
              <a:ext uri="{FF2B5EF4-FFF2-40B4-BE49-F238E27FC236}">
                <a16:creationId xmlns:a16="http://schemas.microsoft.com/office/drawing/2014/main" id="{DE297AEA-BBBD-4AD7-72EA-C4C245AB5D9A}"/>
              </a:ext>
            </a:extLst>
          </p:cNvPr>
          <p:cNvSpPr/>
          <p:nvPr/>
        </p:nvSpPr>
        <p:spPr>
          <a:xfrm>
            <a:off x="809898" y="2611609"/>
            <a:ext cx="1326115" cy="290030"/>
          </a:xfrm>
          <a:prstGeom prst="roundRect">
            <a:avLst>
              <a:gd name="adj" fmla="val 1313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r>
              <a:rPr lang="en-AU" sz="1228" b="1" kern="1200">
                <a:solidFill>
                  <a:prstClr val="white"/>
                </a:solidFill>
                <a:latin typeface="Arial" panose="020B0604020202020204"/>
              </a:rPr>
              <a:t>PLATFORM</a:t>
            </a:r>
          </a:p>
        </p:txBody>
      </p:sp>
      <p:sp>
        <p:nvSpPr>
          <p:cNvPr id="32" name="Rectangle: Rounded Corners 31">
            <a:extLst>
              <a:ext uri="{FF2B5EF4-FFF2-40B4-BE49-F238E27FC236}">
                <a16:creationId xmlns:a16="http://schemas.microsoft.com/office/drawing/2014/main" id="{86840C5C-0D16-901A-B37B-80FB1244202F}"/>
              </a:ext>
            </a:extLst>
          </p:cNvPr>
          <p:cNvSpPr/>
          <p:nvPr/>
        </p:nvSpPr>
        <p:spPr>
          <a:xfrm>
            <a:off x="2322525" y="2598855"/>
            <a:ext cx="1326115" cy="290030"/>
          </a:xfrm>
          <a:prstGeom prst="roundRect">
            <a:avLst>
              <a:gd name="adj" fmla="val 146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r>
              <a:rPr lang="en-AU" sz="1228" b="1" kern="1200">
                <a:solidFill>
                  <a:prstClr val="white"/>
                </a:solidFill>
                <a:latin typeface="Arial" panose="020B0604020202020204"/>
              </a:rPr>
              <a:t>PARS</a:t>
            </a:r>
          </a:p>
        </p:txBody>
      </p:sp>
      <p:sp>
        <p:nvSpPr>
          <p:cNvPr id="33" name="Rectangle: Rounded Corners 32">
            <a:extLst>
              <a:ext uri="{FF2B5EF4-FFF2-40B4-BE49-F238E27FC236}">
                <a16:creationId xmlns:a16="http://schemas.microsoft.com/office/drawing/2014/main" id="{9E5D5B73-A599-DD23-2DD1-D449F946DD18}"/>
              </a:ext>
            </a:extLst>
          </p:cNvPr>
          <p:cNvSpPr/>
          <p:nvPr/>
        </p:nvSpPr>
        <p:spPr>
          <a:xfrm>
            <a:off x="803556" y="5130203"/>
            <a:ext cx="4447088" cy="241777"/>
          </a:xfrm>
          <a:prstGeom prst="roundRect">
            <a:avLst>
              <a:gd name="adj" fmla="val 2770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r>
              <a:rPr lang="en-US" sz="1403" kern="1200">
                <a:solidFill>
                  <a:prstClr val="white"/>
                </a:solidFill>
                <a:latin typeface="Arial" panose="020B0604020202020204"/>
              </a:rPr>
              <a:t>Total FUA </a:t>
            </a:r>
            <a:r>
              <a:rPr lang="en-US" sz="1403" b="1" kern="1200">
                <a:solidFill>
                  <a:prstClr val="white"/>
                </a:solidFill>
                <a:latin typeface="Arial" panose="020B0604020202020204"/>
              </a:rPr>
              <a:t>$120.9b</a:t>
            </a:r>
          </a:p>
        </p:txBody>
      </p:sp>
      <p:sp>
        <p:nvSpPr>
          <p:cNvPr id="34" name="Title 2">
            <a:extLst>
              <a:ext uri="{FF2B5EF4-FFF2-40B4-BE49-F238E27FC236}">
                <a16:creationId xmlns:a16="http://schemas.microsoft.com/office/drawing/2014/main" id="{4D112713-2029-A7BC-7533-EA4B443B145E}"/>
              </a:ext>
            </a:extLst>
          </p:cNvPr>
          <p:cNvSpPr txBox="1">
            <a:spLocks/>
          </p:cNvSpPr>
          <p:nvPr/>
        </p:nvSpPr>
        <p:spPr>
          <a:xfrm>
            <a:off x="2756921" y="4140274"/>
            <a:ext cx="865103" cy="461665"/>
          </a:xfrm>
          <a:prstGeom prst="rect">
            <a:avLst/>
          </a:prstGeom>
        </p:spPr>
        <p:txBody>
          <a:bodyPr vert="horz" wrap="square" lIns="0" tIns="0" rIns="0" bIns="0" rtlCol="0" anchor="t">
            <a:spAutoFit/>
          </a:bodyPr>
          <a:lstStyle>
            <a:lvl1pPr marL="0" algn="l" defTabSz="685800" rtl="0" eaLnBrk="1" latinLnBrk="0" hangingPunct="1">
              <a:lnSpc>
                <a:spcPct val="90000"/>
              </a:lnSpc>
              <a:spcBef>
                <a:spcPct val="0"/>
              </a:spcBef>
              <a:buNone/>
              <a:defRPr lang="en-US" sz="2000" b="0" i="0" kern="1200" cap="all" spc="0" baseline="0">
                <a:solidFill>
                  <a:schemeClr val="bg1"/>
                </a:solidFill>
                <a:latin typeface="Arial" panose="020B0604020202020204" pitchFamily="34" charset="0"/>
                <a:ea typeface="+mj-ea"/>
                <a:cs typeface="Arial" panose="020B0604020202020204" pitchFamily="34" charset="0"/>
              </a:defRPr>
            </a:lvl1pPr>
          </a:lstStyle>
          <a:p>
            <a:pPr defTabSz="829826">
              <a:spcBef>
                <a:spcPts val="702"/>
              </a:spcBef>
              <a:defRPr/>
            </a:pPr>
            <a:r>
              <a:rPr lang="en-US" sz="1053">
                <a:solidFill>
                  <a:prstClr val="white"/>
                </a:solidFill>
                <a:latin typeface="Arial"/>
                <a:cs typeface="Arial"/>
              </a:rPr>
              <a:t>PARS </a:t>
            </a:r>
            <a:r>
              <a:rPr lang="en-US" sz="1053" cap="none">
                <a:solidFill>
                  <a:prstClr val="white"/>
                </a:solidFill>
                <a:latin typeface="Arial" panose="020B0604020202020204"/>
                <a:cs typeface="Arial"/>
              </a:rPr>
              <a:t>accounts</a:t>
            </a:r>
            <a:br>
              <a:rPr lang="en-US" sz="1053" cap="none">
                <a:solidFill>
                  <a:prstClr val="white"/>
                </a:solidFill>
                <a:latin typeface="Arial" panose="020B0604020202020204"/>
              </a:rPr>
            </a:br>
            <a:r>
              <a:rPr lang="en-US" sz="1228" b="1">
                <a:solidFill>
                  <a:srgbClr val="FFBE37"/>
                </a:solidFill>
                <a:latin typeface="Arial"/>
                <a:cs typeface="Arial"/>
              </a:rPr>
              <a:t>8,634</a:t>
            </a:r>
            <a:endParaRPr lang="en-AU" sz="1053" cap="none">
              <a:solidFill>
                <a:prstClr val="white"/>
              </a:solidFill>
              <a:latin typeface="Arial" panose="020B0604020202020204"/>
            </a:endParaRPr>
          </a:p>
        </p:txBody>
      </p:sp>
      <p:cxnSp>
        <p:nvCxnSpPr>
          <p:cNvPr id="35" name="Straight Connector 34">
            <a:extLst>
              <a:ext uri="{FF2B5EF4-FFF2-40B4-BE49-F238E27FC236}">
                <a16:creationId xmlns:a16="http://schemas.microsoft.com/office/drawing/2014/main" id="{72B42EE9-0F25-A9E9-3630-4B5C0A3E02A2}"/>
              </a:ext>
            </a:extLst>
          </p:cNvPr>
          <p:cNvCxnSpPr>
            <a:cxnSpLocks/>
          </p:cNvCxnSpPr>
          <p:nvPr/>
        </p:nvCxnSpPr>
        <p:spPr>
          <a:xfrm>
            <a:off x="7862308" y="3365139"/>
            <a:ext cx="22101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1936EFC-1529-47E7-2BCF-072E13DA82D2}"/>
              </a:ext>
            </a:extLst>
          </p:cNvPr>
          <p:cNvSpPr txBox="1"/>
          <p:nvPr/>
        </p:nvSpPr>
        <p:spPr>
          <a:xfrm>
            <a:off x="7875454" y="3517978"/>
            <a:ext cx="2007426" cy="2412584"/>
          </a:xfrm>
          <a:prstGeom prst="rect">
            <a:avLst/>
          </a:prstGeom>
          <a:noFill/>
        </p:spPr>
        <p:txBody>
          <a:bodyPr wrap="square" lIns="0" tIns="0" rIns="0" bIns="0" rtlCol="0">
            <a:spAutoFit/>
          </a:bodyPr>
          <a:lstStyle>
            <a:defPPr>
              <a:defRPr lang="en-US"/>
            </a:defPPr>
            <a:lvl1pPr marL="111125" indent="-111125" defTabSz="709571">
              <a:buClr>
                <a:schemeClr val="accent3"/>
              </a:buClr>
              <a:buFont typeface="Arial" panose="020B0604020202020204" pitchFamily="34" charset="0"/>
              <a:buChar char="•"/>
              <a:defRPr sz="900">
                <a:solidFill>
                  <a:prstClr val="white"/>
                </a:solidFill>
                <a:latin typeface="+mj-lt"/>
              </a:defRPr>
            </a:lvl1pPr>
          </a:lstStyle>
          <a:p>
            <a:pPr marL="0" indent="0" algn="l" defTabSz="829826" rtl="0">
              <a:buClr>
                <a:srgbClr val="FFBE37"/>
              </a:buClr>
              <a:buNone/>
              <a:defRPr/>
            </a:pPr>
            <a:r>
              <a:rPr lang="en-US" sz="1287" b="1" kern="1200">
                <a:solidFill>
                  <a:srgbClr val="FFBE37"/>
                </a:solidFill>
                <a:latin typeface="Arial" panose="020B0604020202020204"/>
                <a:ea typeface="+mn-ea"/>
                <a:cs typeface="+mn-cs"/>
              </a:rPr>
              <a:t>Class Super</a:t>
            </a:r>
          </a:p>
          <a:p>
            <a:pPr marL="0" indent="0" algn="l" defTabSz="829826" rtl="0">
              <a:buClr>
                <a:srgbClr val="FFBE37"/>
              </a:buClr>
              <a:buNone/>
              <a:defRPr/>
            </a:pPr>
            <a:r>
              <a:rPr lang="en-US" sz="1053" kern="1200">
                <a:latin typeface="Arial" panose="020B0604020202020204"/>
                <a:ea typeface="+mn-ea"/>
                <a:cs typeface="+mn-cs"/>
              </a:rPr>
              <a:t>SMSF administration</a:t>
            </a:r>
          </a:p>
          <a:p>
            <a:pPr marL="0" indent="0" algn="l" defTabSz="829826" rtl="0">
              <a:buClr>
                <a:srgbClr val="FFBE37"/>
              </a:buClr>
              <a:buNone/>
              <a:defRPr/>
            </a:pPr>
            <a:r>
              <a:rPr lang="en-US" sz="1053" kern="1200">
                <a:latin typeface="Arial" panose="020B0604020202020204"/>
                <a:ea typeface="+mn-ea"/>
                <a:cs typeface="+mn-cs"/>
              </a:rPr>
              <a:t> </a:t>
            </a:r>
          </a:p>
          <a:p>
            <a:pPr marL="0" indent="0" algn="l" defTabSz="829826" rtl="0">
              <a:buClr>
                <a:srgbClr val="FFBE37"/>
              </a:buClr>
              <a:buNone/>
              <a:defRPr/>
            </a:pPr>
            <a:r>
              <a:rPr lang="en-US" sz="1287" b="1" kern="1200">
                <a:solidFill>
                  <a:srgbClr val="FFBE37"/>
                </a:solidFill>
                <a:latin typeface="Arial" panose="020B0604020202020204"/>
                <a:ea typeface="+mn-ea"/>
                <a:cs typeface="+mn-cs"/>
              </a:rPr>
              <a:t>Class Trust</a:t>
            </a:r>
          </a:p>
          <a:p>
            <a:pPr marL="0" indent="0" algn="l" defTabSz="829826" rtl="0">
              <a:buClr>
                <a:srgbClr val="FFBE37"/>
              </a:buClr>
              <a:buNone/>
              <a:defRPr/>
            </a:pPr>
            <a:r>
              <a:rPr lang="en-US" sz="1053" kern="1200">
                <a:latin typeface="Arial" panose="020B0604020202020204"/>
                <a:ea typeface="+mn-ea"/>
                <a:cs typeface="+mn-cs"/>
              </a:rPr>
              <a:t>Trust administration</a:t>
            </a:r>
          </a:p>
          <a:p>
            <a:pPr marL="0" indent="0" algn="l" defTabSz="829826" rtl="0">
              <a:buClr>
                <a:srgbClr val="FFBE37"/>
              </a:buClr>
              <a:buNone/>
              <a:defRPr/>
            </a:pPr>
            <a:endParaRPr lang="en-US" sz="1053" kern="1200">
              <a:latin typeface="Arial" panose="020B0604020202020204"/>
              <a:ea typeface="+mn-ea"/>
              <a:cs typeface="+mn-cs"/>
            </a:endParaRPr>
          </a:p>
          <a:p>
            <a:pPr marL="0" indent="0" algn="l" defTabSz="829826" rtl="0">
              <a:buClr>
                <a:srgbClr val="FFBE37"/>
              </a:buClr>
              <a:buNone/>
              <a:defRPr/>
            </a:pPr>
            <a:r>
              <a:rPr lang="en-US" sz="1287" b="1" kern="1200">
                <a:solidFill>
                  <a:srgbClr val="FFBE37"/>
                </a:solidFill>
                <a:latin typeface="Arial" panose="020B0604020202020204"/>
                <a:ea typeface="+mn-ea"/>
                <a:cs typeface="+mn-cs"/>
              </a:rPr>
              <a:t>Class Portfolio</a:t>
            </a:r>
          </a:p>
          <a:p>
            <a:pPr marL="0" indent="0" algn="l" defTabSz="829826" rtl="0">
              <a:buClr>
                <a:srgbClr val="FFBE37"/>
              </a:buClr>
              <a:buNone/>
              <a:defRPr/>
            </a:pPr>
            <a:r>
              <a:rPr lang="en-US" sz="1053" kern="1200">
                <a:latin typeface="Arial" panose="020B0604020202020204"/>
                <a:ea typeface="+mn-ea"/>
                <a:cs typeface="+mn-cs"/>
              </a:rPr>
              <a:t>Investment Reporting</a:t>
            </a:r>
            <a:br>
              <a:rPr lang="en-US" sz="1053" kern="1200">
                <a:latin typeface="Arial" panose="020B0604020202020204"/>
                <a:ea typeface="+mn-ea"/>
                <a:cs typeface="+mn-cs"/>
              </a:rPr>
            </a:br>
            <a:r>
              <a:rPr lang="en-US" sz="1053" kern="1200">
                <a:latin typeface="Arial" panose="020B0604020202020204"/>
                <a:ea typeface="+mn-ea"/>
                <a:cs typeface="+mn-cs"/>
              </a:rPr>
              <a:t>&amp; Administration</a:t>
            </a:r>
            <a:br>
              <a:rPr lang="en-US" sz="1053" kern="1200">
                <a:latin typeface="Arial" panose="020B0604020202020204"/>
                <a:ea typeface="+mn-ea"/>
                <a:cs typeface="+mn-cs"/>
              </a:rPr>
            </a:br>
            <a:endParaRPr lang="en-US" sz="1053" kern="1200">
              <a:latin typeface="Arial" panose="020B0604020202020204"/>
              <a:ea typeface="+mn-ea"/>
              <a:cs typeface="+mn-cs"/>
            </a:endParaRPr>
          </a:p>
          <a:p>
            <a:pPr marL="0" indent="0" algn="l" defTabSz="829826" rtl="0">
              <a:buClr>
                <a:srgbClr val="FFBE37"/>
              </a:buClr>
              <a:buNone/>
              <a:defRPr/>
            </a:pPr>
            <a:r>
              <a:rPr lang="en-US" sz="1287" b="1" kern="1200" err="1">
                <a:solidFill>
                  <a:srgbClr val="FFBE37"/>
                </a:solidFill>
                <a:latin typeface="Arial" panose="020B0604020202020204"/>
                <a:ea typeface="+mn-ea"/>
                <a:cs typeface="+mn-cs"/>
              </a:rPr>
              <a:t>NowInfinity</a:t>
            </a:r>
            <a:r>
              <a:rPr lang="en-US" sz="1287" b="1" kern="1200">
                <a:solidFill>
                  <a:srgbClr val="FFBE37"/>
                </a:solidFill>
                <a:latin typeface="Arial" panose="020B0604020202020204"/>
                <a:ea typeface="+mn-ea"/>
                <a:cs typeface="+mn-cs"/>
              </a:rPr>
              <a:t> </a:t>
            </a:r>
          </a:p>
          <a:p>
            <a:pPr marL="0" indent="0" algn="l" defTabSz="829826" rtl="0">
              <a:buClr>
                <a:srgbClr val="FFBE37"/>
              </a:buClr>
              <a:buNone/>
              <a:defRPr/>
            </a:pPr>
            <a:r>
              <a:rPr lang="en-US" sz="1053" b="1" kern="1200">
                <a:solidFill>
                  <a:srgbClr val="FFBE37"/>
                </a:solidFill>
                <a:latin typeface="Arial" panose="020B0604020202020204"/>
                <a:ea typeface="+mn-ea"/>
                <a:cs typeface="+mn-cs"/>
              </a:rPr>
              <a:t>&gt;5.6k </a:t>
            </a:r>
            <a:r>
              <a:rPr lang="en-US" sz="1053" kern="1200">
                <a:latin typeface="Arial" panose="020B0604020202020204"/>
                <a:ea typeface="+mn-ea"/>
                <a:cs typeface="+mn-cs"/>
              </a:rPr>
              <a:t> firms</a:t>
            </a:r>
          </a:p>
          <a:p>
            <a:pPr marL="0" indent="0" algn="l" defTabSz="829826" rtl="0">
              <a:buClr>
                <a:srgbClr val="FFBE37"/>
              </a:buClr>
              <a:buNone/>
              <a:defRPr/>
            </a:pPr>
            <a:r>
              <a:rPr lang="en-US" sz="1053" kern="1200">
                <a:latin typeface="Arial" panose="020B0604020202020204"/>
                <a:ea typeface="+mn-ea"/>
                <a:cs typeface="+mn-cs"/>
              </a:rPr>
              <a:t>Corporate compliance </a:t>
            </a:r>
            <a:br>
              <a:rPr lang="en-US" sz="1053" kern="1200">
                <a:latin typeface="Arial" panose="020B0604020202020204"/>
                <a:ea typeface="+mn-ea"/>
                <a:cs typeface="+mn-cs"/>
              </a:rPr>
            </a:br>
            <a:r>
              <a:rPr lang="en-US" sz="1053" kern="1200">
                <a:latin typeface="Arial" panose="020B0604020202020204"/>
                <a:ea typeface="+mn-ea"/>
                <a:cs typeface="+mn-cs"/>
              </a:rPr>
              <a:t>&amp; documentation </a:t>
            </a:r>
            <a:endParaRPr lang="en-US" sz="1053" b="1" kern="1200">
              <a:latin typeface="Arial" panose="020B0604020202020204"/>
              <a:ea typeface="+mn-ea"/>
              <a:cs typeface="+mn-cs"/>
            </a:endParaRPr>
          </a:p>
        </p:txBody>
      </p:sp>
      <p:pic>
        <p:nvPicPr>
          <p:cNvPr id="37" name="Picture 36">
            <a:extLst>
              <a:ext uri="{FF2B5EF4-FFF2-40B4-BE49-F238E27FC236}">
                <a16:creationId xmlns:a16="http://schemas.microsoft.com/office/drawing/2014/main" id="{3DC02112-6055-0768-F637-51FC243AF6A7}"/>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68318" y="2165284"/>
            <a:ext cx="806333" cy="264774"/>
          </a:xfrm>
          <a:prstGeom prst="rect">
            <a:avLst/>
          </a:prstGeom>
        </p:spPr>
      </p:pic>
      <p:grpSp>
        <p:nvGrpSpPr>
          <p:cNvPr id="38" name="Group 37">
            <a:extLst>
              <a:ext uri="{FF2B5EF4-FFF2-40B4-BE49-F238E27FC236}">
                <a16:creationId xmlns:a16="http://schemas.microsoft.com/office/drawing/2014/main" id="{B854CABC-7EEC-A7F8-640F-4B4C23F0E3C5}"/>
              </a:ext>
            </a:extLst>
          </p:cNvPr>
          <p:cNvGrpSpPr/>
          <p:nvPr/>
        </p:nvGrpSpPr>
        <p:grpSpPr>
          <a:xfrm>
            <a:off x="5638006" y="2611738"/>
            <a:ext cx="303948" cy="303948"/>
            <a:chOff x="6275227" y="2199228"/>
            <a:chExt cx="469501" cy="469501"/>
          </a:xfrm>
        </p:grpSpPr>
        <p:sp>
          <p:nvSpPr>
            <p:cNvPr id="39" name="Oval 38">
              <a:extLst>
                <a:ext uri="{FF2B5EF4-FFF2-40B4-BE49-F238E27FC236}">
                  <a16:creationId xmlns:a16="http://schemas.microsoft.com/office/drawing/2014/main" id="{1C545D41-3D93-272A-83AC-5C29044A1B89}"/>
                </a:ext>
              </a:extLst>
            </p:cNvPr>
            <p:cNvSpPr/>
            <p:nvPr/>
          </p:nvSpPr>
          <p:spPr>
            <a:xfrm>
              <a:off x="6275227" y="2199228"/>
              <a:ext cx="469501" cy="469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40" name="Graphic 39">
              <a:extLst>
                <a:ext uri="{FF2B5EF4-FFF2-40B4-BE49-F238E27FC236}">
                  <a16:creationId xmlns:a16="http://schemas.microsoft.com/office/drawing/2014/main" id="{D4738F22-FFA0-7291-4276-4E999C4218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70458" y="2294459"/>
              <a:ext cx="279039" cy="279038"/>
            </a:xfrm>
            <a:prstGeom prst="rect">
              <a:avLst/>
            </a:prstGeom>
          </p:spPr>
        </p:pic>
      </p:grpSp>
      <p:grpSp>
        <p:nvGrpSpPr>
          <p:cNvPr id="41" name="Group 40">
            <a:extLst>
              <a:ext uri="{FF2B5EF4-FFF2-40B4-BE49-F238E27FC236}">
                <a16:creationId xmlns:a16="http://schemas.microsoft.com/office/drawing/2014/main" id="{B777F811-8CF9-BE9A-454F-9C62D6C174E0}"/>
              </a:ext>
            </a:extLst>
          </p:cNvPr>
          <p:cNvGrpSpPr/>
          <p:nvPr/>
        </p:nvGrpSpPr>
        <p:grpSpPr>
          <a:xfrm>
            <a:off x="8440541" y="2611738"/>
            <a:ext cx="303948" cy="303948"/>
            <a:chOff x="6275227" y="2199228"/>
            <a:chExt cx="469501" cy="469501"/>
          </a:xfrm>
        </p:grpSpPr>
        <p:sp>
          <p:nvSpPr>
            <p:cNvPr id="42" name="Oval 41">
              <a:extLst>
                <a:ext uri="{FF2B5EF4-FFF2-40B4-BE49-F238E27FC236}">
                  <a16:creationId xmlns:a16="http://schemas.microsoft.com/office/drawing/2014/main" id="{EFE52BCD-4FFA-2DDA-2904-357ADAF828F7}"/>
                </a:ext>
              </a:extLst>
            </p:cNvPr>
            <p:cNvSpPr/>
            <p:nvPr/>
          </p:nvSpPr>
          <p:spPr>
            <a:xfrm>
              <a:off x="6275227" y="2199228"/>
              <a:ext cx="469501" cy="46950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43" name="Graphic 42">
              <a:extLst>
                <a:ext uri="{FF2B5EF4-FFF2-40B4-BE49-F238E27FC236}">
                  <a16:creationId xmlns:a16="http://schemas.microsoft.com/office/drawing/2014/main" id="{6B6D210A-EE1C-C69B-62A9-9C66960CC7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70458" y="2294459"/>
              <a:ext cx="279039" cy="279038"/>
            </a:xfrm>
            <a:prstGeom prst="rect">
              <a:avLst/>
            </a:prstGeom>
          </p:spPr>
        </p:pic>
      </p:grpSp>
      <p:grpSp>
        <p:nvGrpSpPr>
          <p:cNvPr id="44" name="Group 43">
            <a:extLst>
              <a:ext uri="{FF2B5EF4-FFF2-40B4-BE49-F238E27FC236}">
                <a16:creationId xmlns:a16="http://schemas.microsoft.com/office/drawing/2014/main" id="{05AD0063-92B7-9D42-55D9-D633F86A4BE3}"/>
              </a:ext>
            </a:extLst>
          </p:cNvPr>
          <p:cNvGrpSpPr/>
          <p:nvPr/>
        </p:nvGrpSpPr>
        <p:grpSpPr>
          <a:xfrm>
            <a:off x="772828" y="3632243"/>
            <a:ext cx="323229" cy="323229"/>
            <a:chOff x="982812" y="3207969"/>
            <a:chExt cx="368536" cy="368536"/>
          </a:xfrm>
        </p:grpSpPr>
        <p:sp>
          <p:nvSpPr>
            <p:cNvPr id="45" name="Oval 44">
              <a:extLst>
                <a:ext uri="{FF2B5EF4-FFF2-40B4-BE49-F238E27FC236}">
                  <a16:creationId xmlns:a16="http://schemas.microsoft.com/office/drawing/2014/main" id="{DE9C5CF8-E01F-07D0-EC28-3736C00429DC}"/>
                </a:ext>
              </a:extLst>
            </p:cNvPr>
            <p:cNvSpPr/>
            <p:nvPr/>
          </p:nvSpPr>
          <p:spPr>
            <a:xfrm>
              <a:off x="982812" y="3207969"/>
              <a:ext cx="368536" cy="3685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46" name="Graphic 45">
              <a:extLst>
                <a:ext uri="{FF2B5EF4-FFF2-40B4-BE49-F238E27FC236}">
                  <a16:creationId xmlns:a16="http://schemas.microsoft.com/office/drawing/2014/main" id="{CEBE0326-0AAF-1362-D62C-5F19289DE9D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51426" y="3276583"/>
              <a:ext cx="231308" cy="231308"/>
            </a:xfrm>
            <a:prstGeom prst="rect">
              <a:avLst/>
            </a:prstGeom>
          </p:spPr>
        </p:pic>
      </p:grpSp>
      <p:grpSp>
        <p:nvGrpSpPr>
          <p:cNvPr id="47" name="Group 46">
            <a:extLst>
              <a:ext uri="{FF2B5EF4-FFF2-40B4-BE49-F238E27FC236}">
                <a16:creationId xmlns:a16="http://schemas.microsoft.com/office/drawing/2014/main" id="{C998E911-5296-5281-B0CA-2425BB264A7B}"/>
              </a:ext>
            </a:extLst>
          </p:cNvPr>
          <p:cNvGrpSpPr/>
          <p:nvPr/>
        </p:nvGrpSpPr>
        <p:grpSpPr>
          <a:xfrm>
            <a:off x="2318185" y="3631783"/>
            <a:ext cx="324154" cy="324154"/>
            <a:chOff x="3470000" y="3207439"/>
            <a:chExt cx="369591" cy="369591"/>
          </a:xfrm>
        </p:grpSpPr>
        <p:sp>
          <p:nvSpPr>
            <p:cNvPr id="48" name="Oval 47">
              <a:extLst>
                <a:ext uri="{FF2B5EF4-FFF2-40B4-BE49-F238E27FC236}">
                  <a16:creationId xmlns:a16="http://schemas.microsoft.com/office/drawing/2014/main" id="{8897EFDE-DC0E-8C17-2E2C-C3283BF5AE49}"/>
                </a:ext>
              </a:extLst>
            </p:cNvPr>
            <p:cNvSpPr/>
            <p:nvPr/>
          </p:nvSpPr>
          <p:spPr>
            <a:xfrm>
              <a:off x="3470000" y="3207439"/>
              <a:ext cx="369591" cy="36959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49" name="Graphic 48">
              <a:extLst>
                <a:ext uri="{FF2B5EF4-FFF2-40B4-BE49-F238E27FC236}">
                  <a16:creationId xmlns:a16="http://schemas.microsoft.com/office/drawing/2014/main" id="{367DFB30-99B8-DD70-5F13-C1E35A0E38C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39141" y="3276580"/>
              <a:ext cx="231308" cy="231308"/>
            </a:xfrm>
            <a:prstGeom prst="rect">
              <a:avLst/>
            </a:prstGeom>
          </p:spPr>
        </p:pic>
      </p:grpSp>
      <p:grpSp>
        <p:nvGrpSpPr>
          <p:cNvPr id="50" name="Group 49">
            <a:extLst>
              <a:ext uri="{FF2B5EF4-FFF2-40B4-BE49-F238E27FC236}">
                <a16:creationId xmlns:a16="http://schemas.microsoft.com/office/drawing/2014/main" id="{C34CA4E0-9209-EA1D-8500-A79B314E7EB2}"/>
              </a:ext>
            </a:extLst>
          </p:cNvPr>
          <p:cNvGrpSpPr/>
          <p:nvPr/>
        </p:nvGrpSpPr>
        <p:grpSpPr>
          <a:xfrm>
            <a:off x="2322795" y="4164452"/>
            <a:ext cx="324154" cy="324154"/>
            <a:chOff x="3475255" y="3793712"/>
            <a:chExt cx="369591" cy="369591"/>
          </a:xfrm>
        </p:grpSpPr>
        <p:sp>
          <p:nvSpPr>
            <p:cNvPr id="51" name="Oval 50">
              <a:extLst>
                <a:ext uri="{FF2B5EF4-FFF2-40B4-BE49-F238E27FC236}">
                  <a16:creationId xmlns:a16="http://schemas.microsoft.com/office/drawing/2014/main" id="{D5BE8EA4-2D7A-743C-A0B9-5CCD18773FEF}"/>
                </a:ext>
              </a:extLst>
            </p:cNvPr>
            <p:cNvSpPr/>
            <p:nvPr/>
          </p:nvSpPr>
          <p:spPr>
            <a:xfrm>
              <a:off x="3475255" y="3793712"/>
              <a:ext cx="369591" cy="36959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52" name="Graphic 51">
              <a:extLst>
                <a:ext uri="{FF2B5EF4-FFF2-40B4-BE49-F238E27FC236}">
                  <a16:creationId xmlns:a16="http://schemas.microsoft.com/office/drawing/2014/main" id="{EAE4E97B-B873-2447-53B4-590E94875CD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50549" y="3869006"/>
              <a:ext cx="219002" cy="219002"/>
            </a:xfrm>
            <a:prstGeom prst="rect">
              <a:avLst/>
            </a:prstGeom>
          </p:spPr>
        </p:pic>
      </p:grpSp>
      <p:grpSp>
        <p:nvGrpSpPr>
          <p:cNvPr id="53" name="Group 52">
            <a:extLst>
              <a:ext uri="{FF2B5EF4-FFF2-40B4-BE49-F238E27FC236}">
                <a16:creationId xmlns:a16="http://schemas.microsoft.com/office/drawing/2014/main" id="{110D273F-E478-7D0B-C418-403752F19B58}"/>
              </a:ext>
            </a:extLst>
          </p:cNvPr>
          <p:cNvGrpSpPr/>
          <p:nvPr/>
        </p:nvGrpSpPr>
        <p:grpSpPr>
          <a:xfrm>
            <a:off x="772828" y="4164914"/>
            <a:ext cx="323229" cy="323229"/>
            <a:chOff x="982812" y="3794240"/>
            <a:chExt cx="368536" cy="368536"/>
          </a:xfrm>
        </p:grpSpPr>
        <p:sp>
          <p:nvSpPr>
            <p:cNvPr id="54" name="Oval 53">
              <a:extLst>
                <a:ext uri="{FF2B5EF4-FFF2-40B4-BE49-F238E27FC236}">
                  <a16:creationId xmlns:a16="http://schemas.microsoft.com/office/drawing/2014/main" id="{208E00AB-A2BD-3013-7AB7-F824741BF9AB}"/>
                </a:ext>
              </a:extLst>
            </p:cNvPr>
            <p:cNvSpPr/>
            <p:nvPr/>
          </p:nvSpPr>
          <p:spPr>
            <a:xfrm>
              <a:off x="982812" y="3794240"/>
              <a:ext cx="368536" cy="3685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55" name="Graphic 54">
              <a:extLst>
                <a:ext uri="{FF2B5EF4-FFF2-40B4-BE49-F238E27FC236}">
                  <a16:creationId xmlns:a16="http://schemas.microsoft.com/office/drawing/2014/main" id="{FC4A48E1-DDEE-234D-201E-DC4026826A4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56747" y="3868175"/>
              <a:ext cx="220666" cy="220666"/>
            </a:xfrm>
            <a:prstGeom prst="rect">
              <a:avLst/>
            </a:prstGeom>
          </p:spPr>
        </p:pic>
      </p:grpSp>
      <p:sp>
        <p:nvSpPr>
          <p:cNvPr id="56" name="Rectangle: Rounded Corners 55">
            <a:extLst>
              <a:ext uri="{FF2B5EF4-FFF2-40B4-BE49-F238E27FC236}">
                <a16:creationId xmlns:a16="http://schemas.microsoft.com/office/drawing/2014/main" id="{29B53000-DDE0-664C-61C8-24C4CF1EAB37}"/>
              </a:ext>
            </a:extLst>
          </p:cNvPr>
          <p:cNvSpPr/>
          <p:nvPr/>
        </p:nvSpPr>
        <p:spPr>
          <a:xfrm>
            <a:off x="803556" y="5417895"/>
            <a:ext cx="4447088" cy="241777"/>
          </a:xfrm>
          <a:prstGeom prst="roundRect">
            <a:avLst>
              <a:gd name="adj" fmla="val 248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r>
              <a:rPr lang="en-US" sz="1403" kern="1200">
                <a:solidFill>
                  <a:prstClr val="white"/>
                </a:solidFill>
                <a:latin typeface="Arial" panose="020B0604020202020204"/>
              </a:rPr>
              <a:t>Record FY24 net inflows </a:t>
            </a:r>
            <a:r>
              <a:rPr lang="en-US" sz="1403" b="1" kern="1200">
                <a:solidFill>
                  <a:prstClr val="white"/>
                </a:solidFill>
                <a:latin typeface="Arial" panose="020B0604020202020204"/>
              </a:rPr>
              <a:t>$17.9b</a:t>
            </a:r>
            <a:endParaRPr lang="en-US" sz="1403" b="1" kern="1200" baseline="30000">
              <a:solidFill>
                <a:prstClr val="white"/>
              </a:solidFill>
              <a:latin typeface="Arial" panose="020B0604020202020204"/>
            </a:endParaRPr>
          </a:p>
        </p:txBody>
      </p:sp>
      <p:sp>
        <p:nvSpPr>
          <p:cNvPr id="57" name="TextBox 56">
            <a:extLst>
              <a:ext uri="{FF2B5EF4-FFF2-40B4-BE49-F238E27FC236}">
                <a16:creationId xmlns:a16="http://schemas.microsoft.com/office/drawing/2014/main" id="{0DDC120B-7880-D0C1-15E6-7CFEE2686EA3}"/>
              </a:ext>
            </a:extLst>
          </p:cNvPr>
          <p:cNvSpPr txBox="1"/>
          <p:nvPr/>
        </p:nvSpPr>
        <p:spPr>
          <a:xfrm>
            <a:off x="8692958" y="2619780"/>
            <a:ext cx="1190545" cy="452175"/>
          </a:xfrm>
          <a:prstGeom prst="rect">
            <a:avLst/>
          </a:prstGeom>
          <a:noFill/>
        </p:spPr>
        <p:txBody>
          <a:bodyPr wrap="square" rtlCol="0">
            <a:spAutoFit/>
          </a:bodyPr>
          <a:lstStyle/>
          <a:p>
            <a:pPr algn="ctr" defTabSz="534644" rtl="0">
              <a:defRPr/>
            </a:pPr>
            <a:r>
              <a:rPr lang="en-US" sz="1169" kern="1200">
                <a:solidFill>
                  <a:prstClr val="white"/>
                </a:solidFill>
                <a:latin typeface="Arial" panose="020B0604020202020204"/>
                <a:ea typeface="+mn-ea"/>
                <a:cs typeface="+mn-cs"/>
              </a:rPr>
              <a:t>Cloud-based software</a:t>
            </a:r>
            <a:endParaRPr lang="en-AU" sz="1169" kern="1200">
              <a:solidFill>
                <a:prstClr val="white"/>
              </a:solidFill>
              <a:latin typeface="Arial" panose="020B0604020202020204"/>
              <a:ea typeface="+mn-ea"/>
              <a:cs typeface="+mn-cs"/>
            </a:endParaRPr>
          </a:p>
        </p:txBody>
      </p:sp>
      <p:sp>
        <p:nvSpPr>
          <p:cNvPr id="58" name="TextBox 57">
            <a:extLst>
              <a:ext uri="{FF2B5EF4-FFF2-40B4-BE49-F238E27FC236}">
                <a16:creationId xmlns:a16="http://schemas.microsoft.com/office/drawing/2014/main" id="{44E2A8C5-64FD-2661-45D8-20DCD049E599}"/>
              </a:ext>
            </a:extLst>
          </p:cNvPr>
          <p:cNvSpPr txBox="1"/>
          <p:nvPr/>
        </p:nvSpPr>
        <p:spPr>
          <a:xfrm>
            <a:off x="5952074" y="2611608"/>
            <a:ext cx="2027206" cy="628505"/>
          </a:xfrm>
          <a:prstGeom prst="rect">
            <a:avLst/>
          </a:prstGeom>
          <a:noFill/>
        </p:spPr>
        <p:txBody>
          <a:bodyPr wrap="square" rtlCol="0">
            <a:spAutoFit/>
          </a:bodyPr>
          <a:lstStyle/>
          <a:p>
            <a:pPr algn="ctr" defTabSz="534644" rtl="0">
              <a:defRPr/>
            </a:pPr>
            <a:r>
              <a:rPr lang="en-US" sz="1169" kern="1200">
                <a:solidFill>
                  <a:prstClr val="white"/>
                </a:solidFill>
                <a:latin typeface="Arial" panose="020B0604020202020204"/>
                <a:ea typeface="+mn-ea"/>
                <a:cs typeface="+mn-cs"/>
              </a:rPr>
              <a:t>Technology &amp; Data Services </a:t>
            </a:r>
          </a:p>
          <a:p>
            <a:pPr algn="ctr" defTabSz="534644" rtl="0">
              <a:defRPr/>
            </a:pPr>
            <a:r>
              <a:rPr lang="en-US" sz="1146" b="1" kern="1200">
                <a:solidFill>
                  <a:srgbClr val="FFBE37"/>
                </a:solidFill>
                <a:latin typeface="Arial" panose="020B0604020202020204"/>
                <a:ea typeface="+mn-ea"/>
                <a:cs typeface="+mn-cs"/>
              </a:rPr>
              <a:t>&gt; 300 </a:t>
            </a:r>
            <a:r>
              <a:rPr lang="en-US" sz="1053" kern="1200">
                <a:solidFill>
                  <a:prstClr val="white"/>
                </a:solidFill>
                <a:latin typeface="Arial" panose="020B0604020202020204"/>
                <a:ea typeface="+mn-ea"/>
                <a:cs typeface="+mn-cs"/>
              </a:rPr>
              <a:t>data integrations</a:t>
            </a:r>
            <a:endParaRPr lang="en-AU" sz="1053" kern="1200">
              <a:solidFill>
                <a:prstClr val="white"/>
              </a:solidFill>
              <a:latin typeface="Arial" panose="020B0604020202020204"/>
              <a:ea typeface="+mn-ea"/>
              <a:cs typeface="+mn-cs"/>
            </a:endParaRPr>
          </a:p>
        </p:txBody>
      </p:sp>
      <p:cxnSp>
        <p:nvCxnSpPr>
          <p:cNvPr id="59" name="Straight Connector 58">
            <a:extLst>
              <a:ext uri="{FF2B5EF4-FFF2-40B4-BE49-F238E27FC236}">
                <a16:creationId xmlns:a16="http://schemas.microsoft.com/office/drawing/2014/main" id="{70924099-CD84-1781-FBB3-F944B4D6CB35}"/>
              </a:ext>
            </a:extLst>
          </p:cNvPr>
          <p:cNvCxnSpPr>
            <a:cxnSpLocks/>
          </p:cNvCxnSpPr>
          <p:nvPr/>
        </p:nvCxnSpPr>
        <p:spPr>
          <a:xfrm>
            <a:off x="7868820" y="5227326"/>
            <a:ext cx="22101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C74DE7BD-D9DC-1613-E59C-5DEDADD289F5}"/>
              </a:ext>
            </a:extLst>
          </p:cNvPr>
          <p:cNvSpPr/>
          <p:nvPr/>
        </p:nvSpPr>
        <p:spPr>
          <a:xfrm>
            <a:off x="674244" y="1875806"/>
            <a:ext cx="4672459" cy="19435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85" rtl="0">
              <a:defRPr/>
            </a:pPr>
            <a:r>
              <a:rPr lang="en-US" sz="1228" b="1" kern="1200">
                <a:solidFill>
                  <a:srgbClr val="293C8B"/>
                </a:solidFill>
                <a:latin typeface="Arial" panose="020B0604020202020204"/>
              </a:rPr>
              <a:t>Platform</a:t>
            </a:r>
            <a:endParaRPr lang="en-AU" sz="1228" b="1" kern="1200">
              <a:solidFill>
                <a:srgbClr val="293C8B"/>
              </a:solidFill>
              <a:latin typeface="Arial" panose="020B0604020202020204"/>
            </a:endParaRPr>
          </a:p>
        </p:txBody>
      </p:sp>
      <p:sp>
        <p:nvSpPr>
          <p:cNvPr id="61" name="Rectangle: Rounded Corners 60">
            <a:extLst>
              <a:ext uri="{FF2B5EF4-FFF2-40B4-BE49-F238E27FC236}">
                <a16:creationId xmlns:a16="http://schemas.microsoft.com/office/drawing/2014/main" id="{AFD36FA7-5B8D-1F48-4D50-51474000D4DD}"/>
              </a:ext>
            </a:extLst>
          </p:cNvPr>
          <p:cNvSpPr/>
          <p:nvPr/>
        </p:nvSpPr>
        <p:spPr>
          <a:xfrm>
            <a:off x="5463912" y="1873651"/>
            <a:ext cx="4745337" cy="19651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85" rtl="0">
              <a:defRPr/>
            </a:pPr>
            <a:r>
              <a:rPr lang="en-US" sz="1228" b="1" kern="1200">
                <a:solidFill>
                  <a:srgbClr val="293C8B"/>
                </a:solidFill>
                <a:latin typeface="Arial" panose="020B0604020202020204"/>
              </a:rPr>
              <a:t>Tech Solutions</a:t>
            </a:r>
            <a:endParaRPr lang="en-AU" sz="1228" b="1" kern="1200">
              <a:solidFill>
                <a:srgbClr val="293C8B"/>
              </a:solidFill>
              <a:latin typeface="Arial" panose="020B0604020202020204"/>
            </a:endParaRPr>
          </a:p>
        </p:txBody>
      </p:sp>
      <p:sp>
        <p:nvSpPr>
          <p:cNvPr id="62" name="TextBox 61">
            <a:extLst>
              <a:ext uri="{FF2B5EF4-FFF2-40B4-BE49-F238E27FC236}">
                <a16:creationId xmlns:a16="http://schemas.microsoft.com/office/drawing/2014/main" id="{539A5CE2-E66A-F19F-512B-4903C23EE32C}"/>
              </a:ext>
            </a:extLst>
          </p:cNvPr>
          <p:cNvSpPr txBox="1"/>
          <p:nvPr/>
        </p:nvSpPr>
        <p:spPr>
          <a:xfrm>
            <a:off x="9377723" y="5256032"/>
            <a:ext cx="813112" cy="420308"/>
          </a:xfrm>
          <a:prstGeom prst="rect">
            <a:avLst/>
          </a:prstGeom>
          <a:noFill/>
        </p:spPr>
        <p:txBody>
          <a:bodyPr wrap="square">
            <a:spAutoFit/>
          </a:bodyPr>
          <a:lstStyle/>
          <a:p>
            <a:pPr algn="l" defTabSz="801985" rtl="0">
              <a:lnSpc>
                <a:spcPct val="90000"/>
              </a:lnSpc>
              <a:defRPr/>
            </a:pPr>
            <a:r>
              <a:rPr lang="en-AU" sz="789" kern="1200">
                <a:solidFill>
                  <a:prstClr val="white"/>
                </a:solidFill>
                <a:latin typeface="Arial" panose="020B0604020202020204"/>
                <a:ea typeface="+mn-ea"/>
                <a:cs typeface="+mn-cs"/>
              </a:rPr>
              <a:t>Document orders </a:t>
            </a:r>
            <a:r>
              <a:rPr lang="en-AU" sz="789" b="1" kern="1200">
                <a:solidFill>
                  <a:srgbClr val="FFBE37"/>
                </a:solidFill>
                <a:latin typeface="Arial" panose="020B0604020202020204"/>
                <a:ea typeface="+mn-ea"/>
                <a:cs typeface="+mn-cs"/>
              </a:rPr>
              <a:t>200,440</a:t>
            </a:r>
          </a:p>
        </p:txBody>
      </p:sp>
      <p:sp>
        <p:nvSpPr>
          <p:cNvPr id="63" name="TextBox 62">
            <a:extLst>
              <a:ext uri="{FF2B5EF4-FFF2-40B4-BE49-F238E27FC236}">
                <a16:creationId xmlns:a16="http://schemas.microsoft.com/office/drawing/2014/main" id="{65E96C40-4618-C455-1DA1-47FB2E22A53A}"/>
              </a:ext>
            </a:extLst>
          </p:cNvPr>
          <p:cNvSpPr txBox="1"/>
          <p:nvPr/>
        </p:nvSpPr>
        <p:spPr>
          <a:xfrm>
            <a:off x="9377723" y="5660684"/>
            <a:ext cx="838162" cy="420308"/>
          </a:xfrm>
          <a:prstGeom prst="rect">
            <a:avLst/>
          </a:prstGeom>
          <a:noFill/>
        </p:spPr>
        <p:txBody>
          <a:bodyPr wrap="square">
            <a:spAutoFit/>
          </a:bodyPr>
          <a:lstStyle/>
          <a:p>
            <a:pPr algn="l" defTabSz="801985" rtl="0">
              <a:lnSpc>
                <a:spcPct val="90000"/>
              </a:lnSpc>
              <a:defRPr/>
            </a:pPr>
            <a:r>
              <a:rPr lang="en-AU" sz="789" kern="1200">
                <a:solidFill>
                  <a:prstClr val="white"/>
                </a:solidFill>
                <a:latin typeface="Arial" panose="020B0604020202020204"/>
                <a:ea typeface="+mn-ea"/>
                <a:cs typeface="+mn-cs"/>
              </a:rPr>
              <a:t>No. of companies </a:t>
            </a:r>
            <a:r>
              <a:rPr lang="en-AU" sz="789" b="1" kern="1200">
                <a:solidFill>
                  <a:srgbClr val="FFBE37"/>
                </a:solidFill>
                <a:latin typeface="Arial" panose="020B0604020202020204"/>
                <a:ea typeface="+mn-ea"/>
                <a:cs typeface="+mn-cs"/>
              </a:rPr>
              <a:t>818,486</a:t>
            </a:r>
          </a:p>
        </p:txBody>
      </p:sp>
      <p:sp>
        <p:nvSpPr>
          <p:cNvPr id="64" name="Left Brace 63">
            <a:extLst>
              <a:ext uri="{FF2B5EF4-FFF2-40B4-BE49-F238E27FC236}">
                <a16:creationId xmlns:a16="http://schemas.microsoft.com/office/drawing/2014/main" id="{BE5DF439-D17D-5663-E761-3A2B50E4F827}"/>
              </a:ext>
            </a:extLst>
          </p:cNvPr>
          <p:cNvSpPr/>
          <p:nvPr/>
        </p:nvSpPr>
        <p:spPr>
          <a:xfrm rot="10800000">
            <a:off x="9196136" y="3600649"/>
            <a:ext cx="167035" cy="1428468"/>
          </a:xfrm>
          <a:prstGeom prst="leftBrace">
            <a:avLst>
              <a:gd name="adj1" fmla="val 0"/>
              <a:gd name="adj2" fmla="val 50000"/>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01985" rtl="0">
              <a:defRPr/>
            </a:pPr>
            <a:endParaRPr lang="en-AU" sz="1579" kern="1200">
              <a:solidFill>
                <a:prstClr val="black"/>
              </a:solidFill>
              <a:latin typeface="Arial" panose="020B0604020202020204"/>
            </a:endParaRPr>
          </a:p>
        </p:txBody>
      </p:sp>
      <p:sp>
        <p:nvSpPr>
          <p:cNvPr id="65" name="TextBox 64">
            <a:extLst>
              <a:ext uri="{FF2B5EF4-FFF2-40B4-BE49-F238E27FC236}">
                <a16:creationId xmlns:a16="http://schemas.microsoft.com/office/drawing/2014/main" id="{BCA4B555-723A-CF10-016F-E31CFE8FB37B}"/>
              </a:ext>
            </a:extLst>
          </p:cNvPr>
          <p:cNvSpPr txBox="1"/>
          <p:nvPr/>
        </p:nvSpPr>
        <p:spPr>
          <a:xfrm>
            <a:off x="9363170" y="3900023"/>
            <a:ext cx="766836" cy="866135"/>
          </a:xfrm>
          <a:prstGeom prst="rect">
            <a:avLst/>
          </a:prstGeom>
          <a:noFill/>
        </p:spPr>
        <p:txBody>
          <a:bodyPr wrap="square">
            <a:spAutoFit/>
          </a:bodyPr>
          <a:lstStyle/>
          <a:p>
            <a:pPr algn="l" defTabSz="801985" rtl="0">
              <a:defRPr/>
            </a:pPr>
            <a:r>
              <a:rPr lang="en-AU" sz="789" b="1" kern="1200">
                <a:solidFill>
                  <a:prstClr val="white"/>
                </a:solidFill>
                <a:latin typeface="Arial" panose="020B0604020202020204"/>
                <a:ea typeface="+mn-ea"/>
                <a:cs typeface="+mn-cs"/>
              </a:rPr>
              <a:t>No. of accounts</a:t>
            </a:r>
          </a:p>
          <a:p>
            <a:pPr algn="l" defTabSz="801985" rtl="0">
              <a:defRPr/>
            </a:pPr>
            <a:r>
              <a:rPr lang="en-AU" sz="789" b="1" kern="1200">
                <a:solidFill>
                  <a:srgbClr val="FFBE37"/>
                </a:solidFill>
                <a:latin typeface="Arial" panose="020B0604020202020204"/>
                <a:ea typeface="+mn-ea"/>
                <a:cs typeface="+mn-cs"/>
              </a:rPr>
              <a:t>210,414</a:t>
            </a:r>
          </a:p>
          <a:p>
            <a:pPr algn="l" defTabSz="801985" rtl="0">
              <a:defRPr/>
            </a:pPr>
            <a:endParaRPr lang="en-AU" sz="789" b="1" kern="1200">
              <a:solidFill>
                <a:srgbClr val="FFBE37"/>
              </a:solidFill>
              <a:latin typeface="Arial" panose="020B0604020202020204"/>
              <a:ea typeface="+mn-ea"/>
              <a:cs typeface="+mn-cs"/>
            </a:endParaRPr>
          </a:p>
          <a:p>
            <a:pPr algn="l" defTabSz="801985" rtl="0">
              <a:defRPr/>
            </a:pPr>
            <a:r>
              <a:rPr lang="en-AU" sz="789" b="1" kern="1200">
                <a:solidFill>
                  <a:srgbClr val="FFBE37"/>
                </a:solidFill>
                <a:latin typeface="Arial" panose="020B0604020202020204"/>
                <a:ea typeface="+mn-ea"/>
                <a:cs typeface="+mn-cs"/>
              </a:rPr>
              <a:t> </a:t>
            </a:r>
            <a:r>
              <a:rPr lang="en-AU" sz="936" b="1" kern="1200">
                <a:solidFill>
                  <a:srgbClr val="FFBE37"/>
                </a:solidFill>
                <a:latin typeface="Arial" panose="020B0604020202020204"/>
                <a:ea typeface="+mn-ea"/>
                <a:cs typeface="+mn-cs"/>
              </a:rPr>
              <a:t>&gt;1,600 </a:t>
            </a:r>
            <a:r>
              <a:rPr lang="en-AU" sz="936" b="1" kern="1200">
                <a:solidFill>
                  <a:prstClr val="white"/>
                </a:solidFill>
                <a:latin typeface="Arial" panose="020B0604020202020204"/>
                <a:ea typeface="+mn-ea"/>
                <a:cs typeface="+mn-cs"/>
              </a:rPr>
              <a:t>f</a:t>
            </a:r>
            <a:r>
              <a:rPr lang="en-AU" sz="936" kern="1200">
                <a:solidFill>
                  <a:prstClr val="white"/>
                </a:solidFill>
                <a:latin typeface="Arial" panose="020B0604020202020204"/>
                <a:ea typeface="+mn-ea"/>
                <a:cs typeface="+mn-cs"/>
              </a:rPr>
              <a:t>irms</a:t>
            </a:r>
            <a:r>
              <a:rPr lang="en-AU" sz="936" b="1" kern="1200">
                <a:solidFill>
                  <a:srgbClr val="FFBE37"/>
                </a:solidFill>
                <a:latin typeface="Arial" panose="020B0604020202020204"/>
                <a:ea typeface="+mn-ea"/>
                <a:cs typeface="+mn-cs"/>
              </a:rPr>
              <a:t> </a:t>
            </a:r>
          </a:p>
        </p:txBody>
      </p:sp>
      <p:sp>
        <p:nvSpPr>
          <p:cNvPr id="66" name="Left Brace 65">
            <a:extLst>
              <a:ext uri="{FF2B5EF4-FFF2-40B4-BE49-F238E27FC236}">
                <a16:creationId xmlns:a16="http://schemas.microsoft.com/office/drawing/2014/main" id="{33AB546E-3311-7D5F-2E79-7B9B660F5DCE}"/>
              </a:ext>
            </a:extLst>
          </p:cNvPr>
          <p:cNvSpPr/>
          <p:nvPr/>
        </p:nvSpPr>
        <p:spPr>
          <a:xfrm rot="10800000">
            <a:off x="9196134" y="5305015"/>
            <a:ext cx="167034" cy="678755"/>
          </a:xfrm>
          <a:prstGeom prst="leftBrace">
            <a:avLst>
              <a:gd name="adj1" fmla="val 0"/>
              <a:gd name="adj2" fmla="val 50000"/>
            </a:avLst>
          </a:prstGeom>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01985" rtl="0">
              <a:defRPr/>
            </a:pPr>
            <a:endParaRPr lang="en-AU" sz="1579" kern="1200">
              <a:solidFill>
                <a:prstClr val="black"/>
              </a:solidFill>
              <a:latin typeface="Arial" panose="020B0604020202020204"/>
            </a:endParaRPr>
          </a:p>
        </p:txBody>
      </p:sp>
      <p:pic>
        <p:nvPicPr>
          <p:cNvPr id="67" name="Picture 66" descr="A blue and black text&#10;&#10;Description automatically generated">
            <a:extLst>
              <a:ext uri="{FF2B5EF4-FFF2-40B4-BE49-F238E27FC236}">
                <a16:creationId xmlns:a16="http://schemas.microsoft.com/office/drawing/2014/main" id="{432E2743-1A49-ABE1-5056-1BA432BB7887}"/>
              </a:ext>
            </a:extLst>
          </p:cNvPr>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941080" y="2036593"/>
            <a:ext cx="1162505" cy="558546"/>
          </a:xfrm>
          <a:prstGeom prst="rect">
            <a:avLst/>
          </a:prstGeom>
        </p:spPr>
      </p:pic>
      <p:cxnSp>
        <p:nvCxnSpPr>
          <p:cNvPr id="68" name="Straight Connector 67">
            <a:extLst>
              <a:ext uri="{FF2B5EF4-FFF2-40B4-BE49-F238E27FC236}">
                <a16:creationId xmlns:a16="http://schemas.microsoft.com/office/drawing/2014/main" id="{AA99406A-D724-2687-1862-7343A5873E72}"/>
              </a:ext>
            </a:extLst>
          </p:cNvPr>
          <p:cNvCxnSpPr>
            <a:cxnSpLocks/>
          </p:cNvCxnSpPr>
          <p:nvPr/>
        </p:nvCxnSpPr>
        <p:spPr>
          <a:xfrm>
            <a:off x="3881665" y="3474609"/>
            <a:ext cx="13261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Rectangle: Rounded Corners 68">
            <a:extLst>
              <a:ext uri="{FF2B5EF4-FFF2-40B4-BE49-F238E27FC236}">
                <a16:creationId xmlns:a16="http://schemas.microsoft.com/office/drawing/2014/main" id="{54D2AD79-8657-2FC4-719B-B0FAC864D79C}"/>
              </a:ext>
            </a:extLst>
          </p:cNvPr>
          <p:cNvSpPr/>
          <p:nvPr/>
        </p:nvSpPr>
        <p:spPr>
          <a:xfrm>
            <a:off x="3881665" y="2602310"/>
            <a:ext cx="1326115" cy="290030"/>
          </a:xfrm>
          <a:prstGeom prst="roundRect">
            <a:avLst>
              <a:gd name="adj" fmla="val 1466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r>
              <a:rPr lang="en-AU" sz="1228" b="1" kern="1200">
                <a:solidFill>
                  <a:prstClr val="white"/>
                </a:solidFill>
                <a:latin typeface="Arial" panose="020B0604020202020204"/>
              </a:rPr>
              <a:t>myprosperity</a:t>
            </a:r>
          </a:p>
        </p:txBody>
      </p:sp>
      <p:sp>
        <p:nvSpPr>
          <p:cNvPr id="70" name="TextBox 69">
            <a:extLst>
              <a:ext uri="{FF2B5EF4-FFF2-40B4-BE49-F238E27FC236}">
                <a16:creationId xmlns:a16="http://schemas.microsoft.com/office/drawing/2014/main" id="{A179CF0B-3BC8-AE0A-F871-5D8129E21356}"/>
              </a:ext>
            </a:extLst>
          </p:cNvPr>
          <p:cNvSpPr txBox="1"/>
          <p:nvPr/>
        </p:nvSpPr>
        <p:spPr>
          <a:xfrm>
            <a:off x="4188484" y="2965213"/>
            <a:ext cx="616369" cy="452688"/>
          </a:xfrm>
          <a:prstGeom prst="rect">
            <a:avLst/>
          </a:prstGeom>
          <a:noFill/>
        </p:spPr>
        <p:txBody>
          <a:bodyPr wrap="square" rtlCol="0">
            <a:spAutoFit/>
          </a:bodyPr>
          <a:lstStyle/>
          <a:p>
            <a:pPr algn="l" defTabSz="534685" rtl="0">
              <a:defRPr/>
            </a:pPr>
            <a:r>
              <a:rPr lang="en-US" sz="1171" kern="1200">
                <a:solidFill>
                  <a:prstClr val="white"/>
                </a:solidFill>
                <a:latin typeface="Arial" panose="020B0604020202020204"/>
                <a:ea typeface="+mn-ea"/>
                <a:cs typeface="+mn-cs"/>
              </a:rPr>
              <a:t>Client</a:t>
            </a:r>
            <a:br>
              <a:rPr lang="en-US" sz="1171" kern="1200">
                <a:solidFill>
                  <a:prstClr val="white"/>
                </a:solidFill>
                <a:latin typeface="Arial" panose="020B0604020202020204"/>
                <a:ea typeface="+mn-ea"/>
                <a:cs typeface="+mn-cs"/>
              </a:rPr>
            </a:br>
            <a:r>
              <a:rPr lang="en-US" sz="1171" kern="1200">
                <a:solidFill>
                  <a:prstClr val="white"/>
                </a:solidFill>
                <a:latin typeface="Arial" panose="020B0604020202020204"/>
                <a:ea typeface="+mn-ea"/>
                <a:cs typeface="+mn-cs"/>
              </a:rPr>
              <a:t>portal</a:t>
            </a:r>
            <a:endParaRPr lang="en-AU" sz="1171" kern="1200">
              <a:solidFill>
                <a:prstClr val="white"/>
              </a:solidFill>
              <a:latin typeface="Arial" panose="020B0604020202020204"/>
              <a:ea typeface="+mn-ea"/>
              <a:cs typeface="+mn-cs"/>
            </a:endParaRPr>
          </a:p>
        </p:txBody>
      </p:sp>
      <p:sp>
        <p:nvSpPr>
          <p:cNvPr id="71" name="Title 2">
            <a:extLst>
              <a:ext uri="{FF2B5EF4-FFF2-40B4-BE49-F238E27FC236}">
                <a16:creationId xmlns:a16="http://schemas.microsoft.com/office/drawing/2014/main" id="{564CF96C-6EAB-E2D0-A5B8-4B0ADFF5C77A}"/>
              </a:ext>
            </a:extLst>
          </p:cNvPr>
          <p:cNvSpPr txBox="1">
            <a:spLocks/>
          </p:cNvSpPr>
          <p:nvPr/>
        </p:nvSpPr>
        <p:spPr>
          <a:xfrm>
            <a:off x="4252318" y="3635946"/>
            <a:ext cx="1145459" cy="461665"/>
          </a:xfrm>
          <a:prstGeom prst="rect">
            <a:avLst/>
          </a:prstGeom>
        </p:spPr>
        <p:txBody>
          <a:bodyPr vert="horz" wrap="square" lIns="0" tIns="0" rIns="0" bIns="0" rtlCol="0" anchor="t">
            <a:spAutoFit/>
          </a:bodyPr>
          <a:lstStyle>
            <a:lvl1pPr marL="0" algn="l" defTabSz="685800" rtl="0" eaLnBrk="1" latinLnBrk="0" hangingPunct="1">
              <a:lnSpc>
                <a:spcPct val="90000"/>
              </a:lnSpc>
              <a:spcBef>
                <a:spcPct val="0"/>
              </a:spcBef>
              <a:buNone/>
              <a:defRPr lang="en-US" sz="2000" b="0" i="0" kern="1200" cap="all" spc="0" baseline="0">
                <a:solidFill>
                  <a:schemeClr val="bg1"/>
                </a:solidFill>
                <a:latin typeface="Arial" panose="020B0604020202020204" pitchFamily="34" charset="0"/>
                <a:ea typeface="+mj-ea"/>
                <a:cs typeface="Arial" panose="020B0604020202020204" pitchFamily="34" charset="0"/>
              </a:defRPr>
            </a:lvl1pPr>
          </a:lstStyle>
          <a:p>
            <a:pPr defTabSz="802027">
              <a:spcBef>
                <a:spcPts val="702"/>
              </a:spcBef>
              <a:defRPr/>
            </a:pPr>
            <a:r>
              <a:rPr lang="en-US" sz="1053" cap="none">
                <a:solidFill>
                  <a:prstClr val="white"/>
                </a:solidFill>
                <a:latin typeface="Arial"/>
                <a:cs typeface="Arial"/>
              </a:rPr>
              <a:t>Advice/</a:t>
            </a:r>
            <a:br>
              <a:rPr lang="en-US" sz="1053" cap="none">
                <a:solidFill>
                  <a:prstClr val="white"/>
                </a:solidFill>
                <a:latin typeface="Arial"/>
                <a:cs typeface="Arial"/>
              </a:rPr>
            </a:br>
            <a:r>
              <a:rPr lang="en-US" sz="1053" cap="none">
                <a:solidFill>
                  <a:prstClr val="white"/>
                </a:solidFill>
                <a:latin typeface="Arial"/>
                <a:cs typeface="Arial"/>
              </a:rPr>
              <a:t>accounting firms</a:t>
            </a:r>
            <a:br>
              <a:rPr lang="en-US" sz="1053" cap="none">
                <a:solidFill>
                  <a:prstClr val="white"/>
                </a:solidFill>
                <a:latin typeface="Arial"/>
                <a:cs typeface="Arial"/>
              </a:rPr>
            </a:br>
            <a:r>
              <a:rPr lang="en-US" sz="1228" b="1" cap="none">
                <a:solidFill>
                  <a:srgbClr val="FFBE37"/>
                </a:solidFill>
                <a:latin typeface="Arial"/>
                <a:cs typeface="Arial"/>
              </a:rPr>
              <a:t>&gt;500</a:t>
            </a:r>
            <a:r>
              <a:rPr lang="en-US" sz="1228" b="1">
                <a:solidFill>
                  <a:srgbClr val="FFBE37"/>
                </a:solidFill>
                <a:latin typeface="Arial"/>
                <a:cs typeface="Arial"/>
              </a:rPr>
              <a:t>	</a:t>
            </a:r>
          </a:p>
        </p:txBody>
      </p:sp>
      <p:grpSp>
        <p:nvGrpSpPr>
          <p:cNvPr id="72" name="Group 71">
            <a:extLst>
              <a:ext uri="{FF2B5EF4-FFF2-40B4-BE49-F238E27FC236}">
                <a16:creationId xmlns:a16="http://schemas.microsoft.com/office/drawing/2014/main" id="{62453EB2-A723-FE66-8797-2C13C82BA23F}"/>
              </a:ext>
            </a:extLst>
          </p:cNvPr>
          <p:cNvGrpSpPr/>
          <p:nvPr/>
        </p:nvGrpSpPr>
        <p:grpSpPr>
          <a:xfrm>
            <a:off x="3813584" y="3631783"/>
            <a:ext cx="324154" cy="324154"/>
            <a:chOff x="3470000" y="3207439"/>
            <a:chExt cx="369591" cy="369591"/>
          </a:xfrm>
        </p:grpSpPr>
        <p:sp>
          <p:nvSpPr>
            <p:cNvPr id="73" name="Oval 72">
              <a:extLst>
                <a:ext uri="{FF2B5EF4-FFF2-40B4-BE49-F238E27FC236}">
                  <a16:creationId xmlns:a16="http://schemas.microsoft.com/office/drawing/2014/main" id="{97DA617C-1844-22EF-2614-1784FA69049D}"/>
                </a:ext>
              </a:extLst>
            </p:cNvPr>
            <p:cNvSpPr/>
            <p:nvPr/>
          </p:nvSpPr>
          <p:spPr>
            <a:xfrm>
              <a:off x="3470000" y="3207439"/>
              <a:ext cx="369591" cy="36959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74" name="Graphic 73">
              <a:extLst>
                <a:ext uri="{FF2B5EF4-FFF2-40B4-BE49-F238E27FC236}">
                  <a16:creationId xmlns:a16="http://schemas.microsoft.com/office/drawing/2014/main" id="{E5618240-14B2-2AB6-E077-90FDF701B96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3548149" y="3281084"/>
              <a:ext cx="231308" cy="231308"/>
            </a:xfrm>
            <a:prstGeom prst="rect">
              <a:avLst/>
            </a:prstGeom>
          </p:spPr>
        </p:pic>
      </p:grpSp>
      <p:sp>
        <p:nvSpPr>
          <p:cNvPr id="75" name="Title 2">
            <a:extLst>
              <a:ext uri="{FF2B5EF4-FFF2-40B4-BE49-F238E27FC236}">
                <a16:creationId xmlns:a16="http://schemas.microsoft.com/office/drawing/2014/main" id="{9AB1F9B8-66F3-63E4-92FD-49ACF39D0425}"/>
              </a:ext>
            </a:extLst>
          </p:cNvPr>
          <p:cNvSpPr txBox="1">
            <a:spLocks/>
          </p:cNvSpPr>
          <p:nvPr/>
        </p:nvSpPr>
        <p:spPr>
          <a:xfrm>
            <a:off x="4253599" y="4212441"/>
            <a:ext cx="865103" cy="315856"/>
          </a:xfrm>
          <a:prstGeom prst="rect">
            <a:avLst/>
          </a:prstGeom>
        </p:spPr>
        <p:txBody>
          <a:bodyPr vert="horz" wrap="square" lIns="0" tIns="0" rIns="0" bIns="0" rtlCol="0" anchor="t">
            <a:spAutoFit/>
          </a:bodyPr>
          <a:lstStyle>
            <a:lvl1pPr marL="0" algn="l" defTabSz="685800" rtl="0" eaLnBrk="1" latinLnBrk="0" hangingPunct="1">
              <a:lnSpc>
                <a:spcPct val="90000"/>
              </a:lnSpc>
              <a:spcBef>
                <a:spcPct val="0"/>
              </a:spcBef>
              <a:buNone/>
              <a:defRPr lang="en-US" sz="2000" b="0" i="0" kern="1200" cap="all" spc="0" baseline="0">
                <a:solidFill>
                  <a:schemeClr val="bg1"/>
                </a:solidFill>
                <a:latin typeface="Arial" panose="020B0604020202020204" pitchFamily="34" charset="0"/>
                <a:ea typeface="+mj-ea"/>
                <a:cs typeface="Arial" panose="020B0604020202020204" pitchFamily="34" charset="0"/>
              </a:defRPr>
            </a:lvl1pPr>
          </a:lstStyle>
          <a:p>
            <a:pPr defTabSz="829826">
              <a:spcBef>
                <a:spcPts val="702"/>
              </a:spcBef>
              <a:defRPr/>
            </a:pPr>
            <a:r>
              <a:rPr lang="en-US" sz="1053" cap="none">
                <a:solidFill>
                  <a:prstClr val="white"/>
                </a:solidFill>
                <a:latin typeface="Arial"/>
                <a:cs typeface="Arial"/>
              </a:rPr>
              <a:t>Households</a:t>
            </a:r>
            <a:br>
              <a:rPr lang="en-US" sz="1053" cap="none">
                <a:solidFill>
                  <a:prstClr val="white"/>
                </a:solidFill>
                <a:latin typeface="Arial" panose="020B0604020202020204"/>
              </a:rPr>
            </a:br>
            <a:r>
              <a:rPr lang="en-US" sz="1228" b="1">
                <a:solidFill>
                  <a:srgbClr val="FFBE37"/>
                </a:solidFill>
                <a:latin typeface="Arial"/>
                <a:cs typeface="Arial"/>
              </a:rPr>
              <a:t>~86K</a:t>
            </a:r>
            <a:endParaRPr lang="en-AU" sz="1053" cap="none">
              <a:solidFill>
                <a:prstClr val="white"/>
              </a:solidFill>
              <a:latin typeface="Arial" panose="020B0604020202020204"/>
            </a:endParaRPr>
          </a:p>
        </p:txBody>
      </p:sp>
      <p:grpSp>
        <p:nvGrpSpPr>
          <p:cNvPr id="76" name="Group 75">
            <a:extLst>
              <a:ext uri="{FF2B5EF4-FFF2-40B4-BE49-F238E27FC236}">
                <a16:creationId xmlns:a16="http://schemas.microsoft.com/office/drawing/2014/main" id="{D1F3F661-6726-BA04-A136-E65267C7A4CD}"/>
              </a:ext>
            </a:extLst>
          </p:cNvPr>
          <p:cNvGrpSpPr/>
          <p:nvPr/>
        </p:nvGrpSpPr>
        <p:grpSpPr>
          <a:xfrm>
            <a:off x="3819473" y="4236621"/>
            <a:ext cx="324154" cy="324154"/>
            <a:chOff x="3475255" y="3793712"/>
            <a:chExt cx="369591" cy="369591"/>
          </a:xfrm>
        </p:grpSpPr>
        <p:sp>
          <p:nvSpPr>
            <p:cNvPr id="77" name="Oval 76">
              <a:extLst>
                <a:ext uri="{FF2B5EF4-FFF2-40B4-BE49-F238E27FC236}">
                  <a16:creationId xmlns:a16="http://schemas.microsoft.com/office/drawing/2014/main" id="{B209F20E-3B6A-2E27-3326-8CD94CED1F4E}"/>
                </a:ext>
              </a:extLst>
            </p:cNvPr>
            <p:cNvSpPr/>
            <p:nvPr/>
          </p:nvSpPr>
          <p:spPr>
            <a:xfrm>
              <a:off x="3475255" y="3793712"/>
              <a:ext cx="369591" cy="36959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endParaRPr lang="en-US" sz="2105" kern="1200">
                <a:solidFill>
                  <a:prstClr val="white"/>
                </a:solidFill>
                <a:latin typeface="Arial" panose="020B0604020202020204"/>
              </a:endParaRPr>
            </a:p>
          </p:txBody>
        </p:sp>
        <p:pic>
          <p:nvPicPr>
            <p:cNvPr id="78" name="Graphic 77">
              <a:extLst>
                <a:ext uri="{FF2B5EF4-FFF2-40B4-BE49-F238E27FC236}">
                  <a16:creationId xmlns:a16="http://schemas.microsoft.com/office/drawing/2014/main" id="{ACA7A6BB-AFD5-E2F8-59FB-0CE23BB1E9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50549" y="3869006"/>
              <a:ext cx="219002" cy="219002"/>
            </a:xfrm>
            <a:prstGeom prst="rect">
              <a:avLst/>
            </a:prstGeom>
          </p:spPr>
        </p:pic>
      </p:grpSp>
      <p:sp>
        <p:nvSpPr>
          <p:cNvPr id="79" name="Rectangle: Rounded Corners 78">
            <a:extLst>
              <a:ext uri="{FF2B5EF4-FFF2-40B4-BE49-F238E27FC236}">
                <a16:creationId xmlns:a16="http://schemas.microsoft.com/office/drawing/2014/main" id="{20D3AC22-9D86-BA9B-E4A2-D2A7D6931FF2}"/>
              </a:ext>
            </a:extLst>
          </p:cNvPr>
          <p:cNvSpPr/>
          <p:nvPr/>
        </p:nvSpPr>
        <p:spPr>
          <a:xfrm>
            <a:off x="810522" y="5714689"/>
            <a:ext cx="4447088" cy="241777"/>
          </a:xfrm>
          <a:prstGeom prst="roundRect">
            <a:avLst>
              <a:gd name="adj" fmla="val 2770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34685" rtl="0">
              <a:defRPr/>
            </a:pPr>
            <a:r>
              <a:rPr lang="en-US" sz="1287" kern="1200">
                <a:solidFill>
                  <a:prstClr val="white"/>
                </a:solidFill>
                <a:latin typeface="Arial" panose="020B0604020202020204"/>
              </a:rPr>
              <a:t>Managed Account FUM </a:t>
            </a:r>
            <a:r>
              <a:rPr lang="en-US" sz="1287" b="1" kern="1200">
                <a:solidFill>
                  <a:prstClr val="white"/>
                </a:solidFill>
                <a:latin typeface="Arial" panose="020B0604020202020204"/>
              </a:rPr>
              <a:t>$40b</a:t>
            </a:r>
          </a:p>
        </p:txBody>
      </p:sp>
      <p:sp>
        <p:nvSpPr>
          <p:cNvPr id="80" name="Footer Placeholder 8">
            <a:extLst>
              <a:ext uri="{FF2B5EF4-FFF2-40B4-BE49-F238E27FC236}">
                <a16:creationId xmlns:a16="http://schemas.microsoft.com/office/drawing/2014/main" id="{DB9759E3-01BA-A3B6-FAA7-DC6C67EF90D6}"/>
              </a:ext>
            </a:extLst>
          </p:cNvPr>
          <p:cNvSpPr txBox="1">
            <a:spLocks/>
          </p:cNvSpPr>
          <p:nvPr/>
        </p:nvSpPr>
        <p:spPr>
          <a:xfrm>
            <a:off x="1393119" y="6338846"/>
            <a:ext cx="9032945" cy="256670"/>
          </a:xfrm>
          <a:prstGeom prst="rect">
            <a:avLst/>
          </a:prstGeom>
        </p:spPr>
        <p:txBody>
          <a:bodyPr vert="horz" wrap="square" lIns="80199" tIns="40099" rIns="80199" bIns="40099" numCol="2" rtlCol="0" anchor="ctr">
            <a:spAutoFit/>
          </a:bodyPr>
          <a:lstStyle>
            <a:defPPr>
              <a:defRPr lang="en-US"/>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784">
              <a:defRPr/>
            </a:pPr>
            <a:r>
              <a:rPr lang="en-US" sz="571">
                <a:solidFill>
                  <a:prstClr val="white"/>
                </a:solidFill>
                <a:latin typeface="Arial" panose="020B0604020202020204"/>
              </a:rPr>
              <a:t>Data as at  31 December 2024 unless otherwise stated</a:t>
            </a:r>
          </a:p>
          <a:p>
            <a:pPr defTabSz="829784">
              <a:defRPr/>
            </a:pPr>
            <a:endParaRPr lang="en-US" sz="571">
              <a:solidFill>
                <a:prstClr val="white"/>
              </a:solidFill>
              <a:latin typeface="Arial" panose="020B0604020202020204"/>
            </a:endParaRPr>
          </a:p>
          <a:p>
            <a:pPr defTabSz="829784">
              <a:defRPr/>
            </a:pPr>
            <a:endParaRPr lang="en-US" sz="571">
              <a:solidFill>
                <a:prstClr val="white"/>
              </a:solidFill>
              <a:latin typeface="Arial" panose="020B0604020202020204"/>
            </a:endParaRPr>
          </a:p>
        </p:txBody>
      </p:sp>
    </p:spTree>
    <p:extLst>
      <p:ext uri="{BB962C8B-B14F-4D97-AF65-F5344CB8AC3E}">
        <p14:creationId xmlns:p14="http://schemas.microsoft.com/office/powerpoint/2010/main" val="227172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46E85-D11F-26D5-396C-4B78F488E7A9}"/>
              </a:ext>
            </a:extLst>
          </p:cNvPr>
          <p:cNvSpPr>
            <a:spLocks noGrp="1"/>
          </p:cNvSpPr>
          <p:nvPr>
            <p:ph type="title"/>
          </p:nvPr>
        </p:nvSpPr>
        <p:spPr/>
        <p:txBody>
          <a:bodyPr/>
          <a:lstStyle/>
          <a:p>
            <a:r>
              <a:rPr lang="en-AU"/>
              <a:t>myprosperity</a:t>
            </a:r>
          </a:p>
        </p:txBody>
      </p:sp>
      <p:grpSp>
        <p:nvGrpSpPr>
          <p:cNvPr id="4" name="Group 3">
            <a:extLst>
              <a:ext uri="{FF2B5EF4-FFF2-40B4-BE49-F238E27FC236}">
                <a16:creationId xmlns:a16="http://schemas.microsoft.com/office/drawing/2014/main" id="{DE32EDB5-23CD-7F85-B3A9-5D4842D5EC3E}"/>
              </a:ext>
            </a:extLst>
          </p:cNvPr>
          <p:cNvGrpSpPr/>
          <p:nvPr/>
        </p:nvGrpSpPr>
        <p:grpSpPr>
          <a:xfrm>
            <a:off x="3226182" y="1545941"/>
            <a:ext cx="3523630" cy="3431048"/>
            <a:chOff x="4652153" y="2553434"/>
            <a:chExt cx="2940015" cy="2940015"/>
          </a:xfrm>
        </p:grpSpPr>
        <p:sp>
          <p:nvSpPr>
            <p:cNvPr id="5" name="Oval 4">
              <a:extLst>
                <a:ext uri="{FF2B5EF4-FFF2-40B4-BE49-F238E27FC236}">
                  <a16:creationId xmlns:a16="http://schemas.microsoft.com/office/drawing/2014/main" id="{40BD1A59-504C-34E9-4302-6C78F24DA2AB}"/>
                </a:ext>
              </a:extLst>
            </p:cNvPr>
            <p:cNvSpPr/>
            <p:nvPr/>
          </p:nvSpPr>
          <p:spPr>
            <a:xfrm>
              <a:off x="4762329" y="2681798"/>
              <a:ext cx="2701476" cy="2701474"/>
            </a:xfrm>
            <a:prstGeom prst="ellipse">
              <a:avLst/>
            </a:prstGeom>
            <a:solidFill>
              <a:srgbClr val="1F2D68"/>
            </a:solidFill>
            <a:ln w="241300">
              <a:solidFill>
                <a:srgbClr val="141E45">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809" rtl="0">
                <a:defRPr/>
              </a:pPr>
              <a:endParaRPr lang="en-US" sz="1227" kern="1200">
                <a:solidFill>
                  <a:prstClr val="white"/>
                </a:solidFill>
                <a:latin typeface="Arial" panose="020B0604020202020204" pitchFamily="34" charset="0"/>
                <a:sym typeface="Arial"/>
              </a:endParaRPr>
            </a:p>
          </p:txBody>
        </p:sp>
        <p:sp>
          <p:nvSpPr>
            <p:cNvPr id="6" name="Arc 5">
              <a:extLst>
                <a:ext uri="{FF2B5EF4-FFF2-40B4-BE49-F238E27FC236}">
                  <a16:creationId xmlns:a16="http://schemas.microsoft.com/office/drawing/2014/main" id="{80C43266-D199-42C2-1FB3-2C5ADBA4E0B9}"/>
                </a:ext>
              </a:extLst>
            </p:cNvPr>
            <p:cNvSpPr/>
            <p:nvPr/>
          </p:nvSpPr>
          <p:spPr>
            <a:xfrm>
              <a:off x="4652153" y="2553434"/>
              <a:ext cx="2940015" cy="2940015"/>
            </a:xfrm>
            <a:prstGeom prst="arc">
              <a:avLst>
                <a:gd name="adj1" fmla="val 1767691"/>
                <a:gd name="adj2" fmla="val 1767141"/>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802011" rtl="0">
                <a:defRPr/>
              </a:pPr>
              <a:endParaRPr lang="en-AU" sz="1579" kern="1200">
                <a:solidFill>
                  <a:prstClr val="black"/>
                </a:solidFill>
                <a:latin typeface="Arial" panose="020B0604020202020204"/>
                <a:sym typeface="Arial"/>
              </a:endParaRPr>
            </a:p>
          </p:txBody>
        </p:sp>
        <p:pic>
          <p:nvPicPr>
            <p:cNvPr id="7" name="Picture 6" descr="A black background with white text&#10;&#10;Description automatically generated with low confidence">
              <a:extLst>
                <a:ext uri="{FF2B5EF4-FFF2-40B4-BE49-F238E27FC236}">
                  <a16:creationId xmlns:a16="http://schemas.microsoft.com/office/drawing/2014/main" id="{68CE591E-3635-C56C-54AB-A024663F276D}"/>
                </a:ext>
              </a:extLst>
            </p:cNvPr>
            <p:cNvPicPr>
              <a:picLocks noChangeAspect="1"/>
            </p:cNvPicPr>
            <p:nvPr/>
          </p:nvPicPr>
          <p:blipFill>
            <a:blip r:embed="rId2"/>
            <a:stretch>
              <a:fillRect/>
            </a:stretch>
          </p:blipFill>
          <p:spPr>
            <a:xfrm>
              <a:off x="5177087" y="3884336"/>
              <a:ext cx="1871960" cy="321403"/>
            </a:xfrm>
            <a:prstGeom prst="rect">
              <a:avLst/>
            </a:prstGeom>
          </p:spPr>
        </p:pic>
      </p:grpSp>
      <p:sp>
        <p:nvSpPr>
          <p:cNvPr id="8" name="TextBox 7">
            <a:extLst>
              <a:ext uri="{FF2B5EF4-FFF2-40B4-BE49-F238E27FC236}">
                <a16:creationId xmlns:a16="http://schemas.microsoft.com/office/drawing/2014/main" id="{00F53AF9-1DB9-A63F-A884-B3407BD8E8AD}"/>
              </a:ext>
            </a:extLst>
          </p:cNvPr>
          <p:cNvSpPr txBox="1"/>
          <p:nvPr/>
        </p:nvSpPr>
        <p:spPr>
          <a:xfrm>
            <a:off x="286274" y="2715181"/>
            <a:ext cx="2053297" cy="1267690"/>
          </a:xfrm>
          <a:prstGeom prst="rect">
            <a:avLst/>
          </a:prstGeom>
          <a:noFill/>
        </p:spPr>
        <p:txBody>
          <a:bodyPr wrap="square" lIns="0" tIns="0" rIns="0" bIns="0" numCol="1" spcCol="180000" rtlCol="0" anchor="t">
            <a:noAutofit/>
          </a:bodyPr>
          <a:lstStyle/>
          <a:p>
            <a:pPr algn="l" defTabSz="802000" rtl="0">
              <a:spcBef>
                <a:spcPts val="526"/>
              </a:spcBef>
              <a:buSzPct val="110000"/>
              <a:defRPr/>
            </a:pPr>
            <a:r>
              <a:rPr lang="en-US" sz="1403" b="1" kern="1200">
                <a:solidFill>
                  <a:srgbClr val="FFBE37"/>
                </a:solidFill>
                <a:latin typeface="Arial"/>
                <a:ea typeface="+mn-ea"/>
                <a:cs typeface="Arial"/>
                <a:sym typeface="Arial"/>
              </a:rPr>
              <a:t>Accounting Practice Management</a:t>
            </a:r>
            <a:endParaRPr lang="en-US" sz="1228" kern="1200">
              <a:solidFill>
                <a:prstClr val="white"/>
              </a:solidFill>
              <a:latin typeface="Arial"/>
              <a:ea typeface="+mn-ea"/>
              <a:cs typeface="Arial"/>
              <a:sym typeface="Arial"/>
            </a:endParaRPr>
          </a:p>
        </p:txBody>
      </p:sp>
      <p:sp>
        <p:nvSpPr>
          <p:cNvPr id="9" name="TextBox 8">
            <a:extLst>
              <a:ext uri="{FF2B5EF4-FFF2-40B4-BE49-F238E27FC236}">
                <a16:creationId xmlns:a16="http://schemas.microsoft.com/office/drawing/2014/main" id="{FF2C578A-CA64-2F07-05B7-E744A910ECE2}"/>
              </a:ext>
            </a:extLst>
          </p:cNvPr>
          <p:cNvSpPr txBox="1"/>
          <p:nvPr/>
        </p:nvSpPr>
        <p:spPr>
          <a:xfrm>
            <a:off x="8421233" y="2662803"/>
            <a:ext cx="1860809" cy="1372446"/>
          </a:xfrm>
          <a:prstGeom prst="rect">
            <a:avLst/>
          </a:prstGeom>
          <a:noFill/>
        </p:spPr>
        <p:txBody>
          <a:bodyPr wrap="square" lIns="0" tIns="0" rIns="0" bIns="0" numCol="1" spcCol="180000" rtlCol="0" anchor="t">
            <a:noAutofit/>
          </a:bodyPr>
          <a:lstStyle/>
          <a:p>
            <a:pPr algn="r" defTabSz="802000" rtl="0">
              <a:spcBef>
                <a:spcPts val="526"/>
              </a:spcBef>
              <a:buSzPct val="110000"/>
              <a:defRPr/>
            </a:pPr>
            <a:r>
              <a:rPr lang="en-US" sz="1403" b="1" kern="1200">
                <a:solidFill>
                  <a:srgbClr val="FFBE37"/>
                </a:solidFill>
                <a:latin typeface="Arial"/>
                <a:ea typeface="+mn-ea"/>
                <a:cs typeface="Arial"/>
                <a:sym typeface="Arial"/>
              </a:rPr>
              <a:t>Financial Advice Practice Management</a:t>
            </a:r>
            <a:endParaRPr lang="en-US" sz="1228" kern="1200">
              <a:solidFill>
                <a:prstClr val="white"/>
              </a:solidFill>
              <a:latin typeface="Arial"/>
              <a:ea typeface="+mn-ea"/>
              <a:cs typeface="Arial"/>
              <a:sym typeface="Arial"/>
            </a:endParaRPr>
          </a:p>
        </p:txBody>
      </p:sp>
      <p:cxnSp>
        <p:nvCxnSpPr>
          <p:cNvPr id="10" name="Straight Arrow Connector 9">
            <a:extLst>
              <a:ext uri="{FF2B5EF4-FFF2-40B4-BE49-F238E27FC236}">
                <a16:creationId xmlns:a16="http://schemas.microsoft.com/office/drawing/2014/main" id="{BB421879-3FC1-1CA8-56D6-B2D13C7FF0A9}"/>
              </a:ext>
            </a:extLst>
          </p:cNvPr>
          <p:cNvCxnSpPr>
            <a:cxnSpLocks/>
          </p:cNvCxnSpPr>
          <p:nvPr/>
        </p:nvCxnSpPr>
        <p:spPr>
          <a:xfrm>
            <a:off x="8541323" y="3778250"/>
            <a:ext cx="637151" cy="2933"/>
          </a:xfrm>
          <a:prstGeom prst="straightConnector1">
            <a:avLst/>
          </a:prstGeom>
          <a:ln w="19050">
            <a:solidFill>
              <a:schemeClr val="accent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02F8219-8072-73CE-58C6-7EF563556C3B}"/>
              </a:ext>
            </a:extLst>
          </p:cNvPr>
          <p:cNvCxnSpPr>
            <a:cxnSpLocks/>
          </p:cNvCxnSpPr>
          <p:nvPr/>
        </p:nvCxnSpPr>
        <p:spPr>
          <a:xfrm>
            <a:off x="1271532" y="3802541"/>
            <a:ext cx="727137" cy="0"/>
          </a:xfrm>
          <a:prstGeom prst="straightConnector1">
            <a:avLst/>
          </a:prstGeom>
          <a:ln w="19050">
            <a:solidFill>
              <a:schemeClr val="accent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0758643-73F4-3EC0-A44B-52D95A112784}"/>
              </a:ext>
            </a:extLst>
          </p:cNvPr>
          <p:cNvGrpSpPr/>
          <p:nvPr/>
        </p:nvGrpSpPr>
        <p:grpSpPr>
          <a:xfrm>
            <a:off x="4577919" y="1270114"/>
            <a:ext cx="861948" cy="797475"/>
            <a:chOff x="5821708" y="2222151"/>
            <a:chExt cx="600909" cy="600909"/>
          </a:xfrm>
        </p:grpSpPr>
        <p:sp>
          <p:nvSpPr>
            <p:cNvPr id="13" name="Oval 12">
              <a:extLst>
                <a:ext uri="{FF2B5EF4-FFF2-40B4-BE49-F238E27FC236}">
                  <a16:creationId xmlns:a16="http://schemas.microsoft.com/office/drawing/2014/main" id="{2D0A255D-C459-3240-46CF-D2A29C37AE4A}"/>
                </a:ext>
              </a:extLst>
            </p:cNvPr>
            <p:cNvSpPr/>
            <p:nvPr/>
          </p:nvSpPr>
          <p:spPr>
            <a:xfrm>
              <a:off x="5821708" y="2222151"/>
              <a:ext cx="600909" cy="600909"/>
            </a:xfrm>
            <a:prstGeom prst="ellipse">
              <a:avLst/>
            </a:prstGeom>
            <a:solidFill>
              <a:srgbClr val="141E4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11" rtl="0">
                <a:defRPr/>
              </a:pPr>
              <a:endParaRPr lang="en-AU" sz="1579" kern="1200">
                <a:solidFill>
                  <a:prstClr val="white"/>
                </a:solidFill>
                <a:latin typeface="Arial" panose="020B0604020202020204"/>
                <a:sym typeface="Arial"/>
              </a:endParaRPr>
            </a:p>
          </p:txBody>
        </p:sp>
        <p:pic>
          <p:nvPicPr>
            <p:cNvPr id="14" name="Graphic 13" descr="User outline">
              <a:extLst>
                <a:ext uri="{FF2B5EF4-FFF2-40B4-BE49-F238E27FC236}">
                  <a16:creationId xmlns:a16="http://schemas.microsoft.com/office/drawing/2014/main" id="{DA43ADAE-79A1-B45B-862D-6C92B752E2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00989" y="2280187"/>
              <a:ext cx="424156" cy="424156"/>
            </a:xfrm>
            <a:prstGeom prst="rect">
              <a:avLst/>
            </a:prstGeom>
          </p:spPr>
        </p:pic>
      </p:grpSp>
      <p:sp>
        <p:nvSpPr>
          <p:cNvPr id="15" name="Oval 14">
            <a:extLst>
              <a:ext uri="{FF2B5EF4-FFF2-40B4-BE49-F238E27FC236}">
                <a16:creationId xmlns:a16="http://schemas.microsoft.com/office/drawing/2014/main" id="{52CD118C-7560-8067-62C5-D4C61104AFDB}"/>
              </a:ext>
            </a:extLst>
          </p:cNvPr>
          <p:cNvSpPr/>
          <p:nvPr/>
        </p:nvSpPr>
        <p:spPr>
          <a:xfrm>
            <a:off x="3694369" y="4932709"/>
            <a:ext cx="347325" cy="347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kern="1200">
              <a:solidFill>
                <a:prstClr val="white"/>
              </a:solidFill>
              <a:latin typeface="Arial" panose="020B0604020202020204"/>
              <a:sym typeface="Arial"/>
            </a:endParaRPr>
          </a:p>
        </p:txBody>
      </p:sp>
      <p:sp>
        <p:nvSpPr>
          <p:cNvPr id="17" name="Oval 16">
            <a:extLst>
              <a:ext uri="{FF2B5EF4-FFF2-40B4-BE49-F238E27FC236}">
                <a16:creationId xmlns:a16="http://schemas.microsoft.com/office/drawing/2014/main" id="{A2168A11-DFFE-D064-3F22-6037EBD76E6C}"/>
              </a:ext>
            </a:extLst>
          </p:cNvPr>
          <p:cNvSpPr/>
          <p:nvPr/>
        </p:nvSpPr>
        <p:spPr>
          <a:xfrm>
            <a:off x="4664716" y="5233239"/>
            <a:ext cx="347325" cy="347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kern="1200">
              <a:solidFill>
                <a:prstClr val="white"/>
              </a:solidFill>
              <a:latin typeface="Arial" panose="020B0604020202020204"/>
              <a:sym typeface="Arial"/>
            </a:endParaRPr>
          </a:p>
        </p:txBody>
      </p:sp>
      <p:sp>
        <p:nvSpPr>
          <p:cNvPr id="19" name="Oval 18">
            <a:extLst>
              <a:ext uri="{FF2B5EF4-FFF2-40B4-BE49-F238E27FC236}">
                <a16:creationId xmlns:a16="http://schemas.microsoft.com/office/drawing/2014/main" id="{8E1037A2-9CEC-5504-C82E-B7DAB2375753}"/>
              </a:ext>
            </a:extLst>
          </p:cNvPr>
          <p:cNvSpPr/>
          <p:nvPr/>
        </p:nvSpPr>
        <p:spPr>
          <a:xfrm>
            <a:off x="5610052" y="5098396"/>
            <a:ext cx="347325" cy="347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kern="1200">
              <a:solidFill>
                <a:prstClr val="white"/>
              </a:solidFill>
              <a:latin typeface="Arial" panose="020B0604020202020204"/>
              <a:sym typeface="Arial"/>
            </a:endParaRPr>
          </a:p>
        </p:txBody>
      </p:sp>
      <p:sp>
        <p:nvSpPr>
          <p:cNvPr id="21" name="Oval 20">
            <a:extLst>
              <a:ext uri="{FF2B5EF4-FFF2-40B4-BE49-F238E27FC236}">
                <a16:creationId xmlns:a16="http://schemas.microsoft.com/office/drawing/2014/main" id="{9083D3E4-516B-A570-7362-20899876CC14}"/>
              </a:ext>
            </a:extLst>
          </p:cNvPr>
          <p:cNvSpPr/>
          <p:nvPr/>
        </p:nvSpPr>
        <p:spPr>
          <a:xfrm>
            <a:off x="3124258" y="4398766"/>
            <a:ext cx="347325" cy="347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kern="1200">
              <a:solidFill>
                <a:prstClr val="white"/>
              </a:solidFill>
              <a:latin typeface="Arial" panose="020B0604020202020204"/>
              <a:sym typeface="Arial"/>
            </a:endParaRPr>
          </a:p>
        </p:txBody>
      </p:sp>
      <p:pic>
        <p:nvPicPr>
          <p:cNvPr id="22" name="Graphic 21">
            <a:extLst>
              <a:ext uri="{FF2B5EF4-FFF2-40B4-BE49-F238E27FC236}">
                <a16:creationId xmlns:a16="http://schemas.microsoft.com/office/drawing/2014/main" id="{BC668966-ECA3-4F63-2BE5-3DB740A726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98533" y="4490458"/>
            <a:ext cx="223028" cy="223028"/>
          </a:xfrm>
          <a:prstGeom prst="rect">
            <a:avLst/>
          </a:prstGeom>
        </p:spPr>
      </p:pic>
      <p:sp>
        <p:nvSpPr>
          <p:cNvPr id="24" name="Oval 23">
            <a:extLst>
              <a:ext uri="{FF2B5EF4-FFF2-40B4-BE49-F238E27FC236}">
                <a16:creationId xmlns:a16="http://schemas.microsoft.com/office/drawing/2014/main" id="{C78236C7-EC37-A5C2-2A24-BF667B33932A}"/>
              </a:ext>
            </a:extLst>
          </p:cNvPr>
          <p:cNvSpPr/>
          <p:nvPr/>
        </p:nvSpPr>
        <p:spPr>
          <a:xfrm>
            <a:off x="6295756" y="4706656"/>
            <a:ext cx="347325" cy="347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b="1" kern="1200">
              <a:solidFill>
                <a:prstClr val="white"/>
              </a:solidFill>
              <a:latin typeface="Arial" panose="020B0604020202020204"/>
              <a:sym typeface="Arial"/>
            </a:endParaRPr>
          </a:p>
        </p:txBody>
      </p:sp>
      <p:sp>
        <p:nvSpPr>
          <p:cNvPr id="26" name="TextBox 25">
            <a:extLst>
              <a:ext uri="{FF2B5EF4-FFF2-40B4-BE49-F238E27FC236}">
                <a16:creationId xmlns:a16="http://schemas.microsoft.com/office/drawing/2014/main" id="{34D45943-CD08-C886-8216-5AEF5F1DF15E}"/>
              </a:ext>
            </a:extLst>
          </p:cNvPr>
          <p:cNvSpPr txBox="1"/>
          <p:nvPr/>
        </p:nvSpPr>
        <p:spPr>
          <a:xfrm>
            <a:off x="3432541" y="5329616"/>
            <a:ext cx="788388" cy="470257"/>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Open banking</a:t>
            </a:r>
          </a:p>
        </p:txBody>
      </p:sp>
      <p:sp>
        <p:nvSpPr>
          <p:cNvPr id="27" name="TextBox 26">
            <a:extLst>
              <a:ext uri="{FF2B5EF4-FFF2-40B4-BE49-F238E27FC236}">
                <a16:creationId xmlns:a16="http://schemas.microsoft.com/office/drawing/2014/main" id="{ABB52D04-8755-B309-604A-B3A741248AC8}"/>
              </a:ext>
            </a:extLst>
          </p:cNvPr>
          <p:cNvSpPr txBox="1"/>
          <p:nvPr/>
        </p:nvSpPr>
        <p:spPr>
          <a:xfrm>
            <a:off x="2641689" y="4758726"/>
            <a:ext cx="782021" cy="470257"/>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Portfolio </a:t>
            </a:r>
          </a:p>
          <a:p>
            <a:pPr algn="ctr" defTabSz="802000" rtl="0">
              <a:defRPr/>
            </a:pPr>
            <a:r>
              <a:rPr lang="en-AU" sz="1228" kern="1200">
                <a:solidFill>
                  <a:prstClr val="white"/>
                </a:solidFill>
                <a:latin typeface="Proxima Nova" panose="02000506030000020004" pitchFamily="50" charset="0"/>
                <a:ea typeface="+mn-ea"/>
                <a:cs typeface="Arial"/>
                <a:sym typeface="Arial"/>
              </a:rPr>
              <a:t>Data</a:t>
            </a:r>
          </a:p>
        </p:txBody>
      </p:sp>
      <p:sp>
        <p:nvSpPr>
          <p:cNvPr id="28" name="TextBox 27">
            <a:extLst>
              <a:ext uri="{FF2B5EF4-FFF2-40B4-BE49-F238E27FC236}">
                <a16:creationId xmlns:a16="http://schemas.microsoft.com/office/drawing/2014/main" id="{9ACD8B9E-3262-67F4-42CB-075DAF57D0B3}"/>
              </a:ext>
            </a:extLst>
          </p:cNvPr>
          <p:cNvSpPr txBox="1"/>
          <p:nvPr/>
        </p:nvSpPr>
        <p:spPr>
          <a:xfrm>
            <a:off x="5592921" y="5476392"/>
            <a:ext cx="632072" cy="470257"/>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ATO</a:t>
            </a:r>
          </a:p>
          <a:p>
            <a:pPr algn="ctr" defTabSz="802000" rtl="0">
              <a:defRPr/>
            </a:pPr>
            <a:r>
              <a:rPr lang="en-AU" sz="1228" kern="1200">
                <a:solidFill>
                  <a:prstClr val="white"/>
                </a:solidFill>
                <a:latin typeface="Proxima Nova" panose="02000506030000020004" pitchFamily="50" charset="0"/>
                <a:ea typeface="+mn-ea"/>
                <a:cs typeface="Arial"/>
                <a:sym typeface="Arial"/>
              </a:rPr>
              <a:t>data</a:t>
            </a:r>
          </a:p>
        </p:txBody>
      </p:sp>
      <p:sp>
        <p:nvSpPr>
          <p:cNvPr id="29" name="TextBox 28">
            <a:extLst>
              <a:ext uri="{FF2B5EF4-FFF2-40B4-BE49-F238E27FC236}">
                <a16:creationId xmlns:a16="http://schemas.microsoft.com/office/drawing/2014/main" id="{890BB4B5-D4F6-CD7C-2863-88EAF3ACDA58}"/>
              </a:ext>
            </a:extLst>
          </p:cNvPr>
          <p:cNvSpPr txBox="1"/>
          <p:nvPr/>
        </p:nvSpPr>
        <p:spPr>
          <a:xfrm>
            <a:off x="4452720" y="5607458"/>
            <a:ext cx="863151" cy="470257"/>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ASIC</a:t>
            </a:r>
          </a:p>
          <a:p>
            <a:pPr algn="ctr" defTabSz="802000" rtl="0">
              <a:defRPr/>
            </a:pPr>
            <a:r>
              <a:rPr lang="en-AU" sz="1228" kern="1200">
                <a:solidFill>
                  <a:prstClr val="white"/>
                </a:solidFill>
                <a:latin typeface="Proxima Nova" panose="02000506030000020004" pitchFamily="50" charset="0"/>
                <a:ea typeface="+mn-ea"/>
                <a:cs typeface="Arial"/>
                <a:sym typeface="Arial"/>
              </a:rPr>
              <a:t>data</a:t>
            </a:r>
          </a:p>
        </p:txBody>
      </p:sp>
      <p:sp>
        <p:nvSpPr>
          <p:cNvPr id="30" name="TextBox 29">
            <a:extLst>
              <a:ext uri="{FF2B5EF4-FFF2-40B4-BE49-F238E27FC236}">
                <a16:creationId xmlns:a16="http://schemas.microsoft.com/office/drawing/2014/main" id="{C959DB30-8BEF-05C5-82C2-417E4D382426}"/>
              </a:ext>
            </a:extLst>
          </p:cNvPr>
          <p:cNvSpPr txBox="1"/>
          <p:nvPr/>
        </p:nvSpPr>
        <p:spPr>
          <a:xfrm>
            <a:off x="6083887" y="5125160"/>
            <a:ext cx="1114155" cy="281295"/>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Fact find</a:t>
            </a:r>
          </a:p>
        </p:txBody>
      </p:sp>
      <p:sp>
        <p:nvSpPr>
          <p:cNvPr id="31" name="TextBox 30">
            <a:extLst>
              <a:ext uri="{FF2B5EF4-FFF2-40B4-BE49-F238E27FC236}">
                <a16:creationId xmlns:a16="http://schemas.microsoft.com/office/drawing/2014/main" id="{9D5E45A3-C5D5-4FCF-EFD2-0935CEBD0D4F}"/>
              </a:ext>
            </a:extLst>
          </p:cNvPr>
          <p:cNvSpPr txBox="1"/>
          <p:nvPr/>
        </p:nvSpPr>
        <p:spPr>
          <a:xfrm>
            <a:off x="6753176" y="4521869"/>
            <a:ext cx="1301862" cy="470257"/>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Document library</a:t>
            </a:r>
          </a:p>
        </p:txBody>
      </p:sp>
      <p:sp>
        <p:nvSpPr>
          <p:cNvPr id="33" name="Oval 32">
            <a:extLst>
              <a:ext uri="{FF2B5EF4-FFF2-40B4-BE49-F238E27FC236}">
                <a16:creationId xmlns:a16="http://schemas.microsoft.com/office/drawing/2014/main" id="{8CCCAB7D-72AE-BC73-911C-14D0708FED54}"/>
              </a:ext>
            </a:extLst>
          </p:cNvPr>
          <p:cNvSpPr/>
          <p:nvPr/>
        </p:nvSpPr>
        <p:spPr>
          <a:xfrm>
            <a:off x="6801523" y="4170012"/>
            <a:ext cx="347325" cy="347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b="1" kern="1200">
              <a:solidFill>
                <a:prstClr val="white"/>
              </a:solidFill>
              <a:latin typeface="Arial" panose="020B0604020202020204"/>
              <a:sym typeface="Arial"/>
            </a:endParaRPr>
          </a:p>
        </p:txBody>
      </p:sp>
      <p:grpSp>
        <p:nvGrpSpPr>
          <p:cNvPr id="35" name="Group 34">
            <a:extLst>
              <a:ext uri="{FF2B5EF4-FFF2-40B4-BE49-F238E27FC236}">
                <a16:creationId xmlns:a16="http://schemas.microsoft.com/office/drawing/2014/main" id="{BC79D47A-BAF6-3021-0880-5CD0DA6AD5C2}"/>
              </a:ext>
            </a:extLst>
          </p:cNvPr>
          <p:cNvGrpSpPr/>
          <p:nvPr/>
        </p:nvGrpSpPr>
        <p:grpSpPr>
          <a:xfrm>
            <a:off x="299504" y="3253423"/>
            <a:ext cx="857644" cy="1639456"/>
            <a:chOff x="4058577" y="3601578"/>
            <a:chExt cx="958506" cy="1585365"/>
          </a:xfrm>
        </p:grpSpPr>
        <p:grpSp>
          <p:nvGrpSpPr>
            <p:cNvPr id="36" name="Group 35">
              <a:extLst>
                <a:ext uri="{FF2B5EF4-FFF2-40B4-BE49-F238E27FC236}">
                  <a16:creationId xmlns:a16="http://schemas.microsoft.com/office/drawing/2014/main" id="{0C353A10-0BEB-2070-CB5B-AD44EE4A5EC2}"/>
                </a:ext>
              </a:extLst>
            </p:cNvPr>
            <p:cNvGrpSpPr/>
            <p:nvPr/>
          </p:nvGrpSpPr>
          <p:grpSpPr>
            <a:xfrm>
              <a:off x="4058577" y="3601578"/>
              <a:ext cx="948150" cy="431494"/>
              <a:chOff x="789687" y="4847305"/>
              <a:chExt cx="948150" cy="431494"/>
            </a:xfrm>
          </p:grpSpPr>
          <p:sp>
            <p:nvSpPr>
              <p:cNvPr id="43" name="Rectangle: Rounded Corners 42">
                <a:extLst>
                  <a:ext uri="{FF2B5EF4-FFF2-40B4-BE49-F238E27FC236}">
                    <a16:creationId xmlns:a16="http://schemas.microsoft.com/office/drawing/2014/main" id="{16F73996-9837-A597-4EFB-7975D0516748}"/>
                  </a:ext>
                </a:extLst>
              </p:cNvPr>
              <p:cNvSpPr/>
              <p:nvPr/>
            </p:nvSpPr>
            <p:spPr>
              <a:xfrm>
                <a:off x="789687" y="4847305"/>
                <a:ext cx="948150" cy="43149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579" kern="1200">
                  <a:solidFill>
                    <a:prstClr val="white"/>
                  </a:solidFill>
                  <a:latin typeface="Arial" panose="020B0604020202020204"/>
                  <a:sym typeface="Arial"/>
                </a:endParaRPr>
              </a:p>
            </p:txBody>
          </p:sp>
          <p:pic>
            <p:nvPicPr>
              <p:cNvPr id="44" name="Picture 12">
                <a:extLst>
                  <a:ext uri="{FF2B5EF4-FFF2-40B4-BE49-F238E27FC236}">
                    <a16:creationId xmlns:a16="http://schemas.microsoft.com/office/drawing/2014/main" id="{0849D623-07D6-F868-9593-635738230FC7}"/>
                  </a:ext>
                </a:extLst>
              </p:cNvPr>
              <p:cNvPicPr>
                <a:picLocks noChangeAspect="1" noChangeArrowheads="1"/>
              </p:cNvPicPr>
              <p:nvPr/>
            </p:nvPicPr>
            <p:blipFill>
              <a:blip r:embed="rId7"/>
              <a:srcRect/>
              <a:stretch/>
            </p:blipFill>
            <p:spPr bwMode="auto">
              <a:xfrm>
                <a:off x="932651" y="4894748"/>
                <a:ext cx="662222" cy="3531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D5F034AD-1EC7-D6E4-F33F-C197A57B03C1}"/>
                </a:ext>
              </a:extLst>
            </p:cNvPr>
            <p:cNvGrpSpPr/>
            <p:nvPr/>
          </p:nvGrpSpPr>
          <p:grpSpPr>
            <a:xfrm>
              <a:off x="4058577" y="4088383"/>
              <a:ext cx="948150" cy="465380"/>
              <a:chOff x="2068664" y="4813419"/>
              <a:chExt cx="948150" cy="465380"/>
            </a:xfrm>
          </p:grpSpPr>
          <p:sp>
            <p:nvSpPr>
              <p:cNvPr id="41" name="Rectangle: Rounded Corners 40">
                <a:extLst>
                  <a:ext uri="{FF2B5EF4-FFF2-40B4-BE49-F238E27FC236}">
                    <a16:creationId xmlns:a16="http://schemas.microsoft.com/office/drawing/2014/main" id="{C1797B19-0EAE-A038-3BB4-B60228ABFAAB}"/>
                  </a:ext>
                </a:extLst>
              </p:cNvPr>
              <p:cNvSpPr/>
              <p:nvPr/>
            </p:nvSpPr>
            <p:spPr>
              <a:xfrm>
                <a:off x="2068664" y="4830362"/>
                <a:ext cx="948150" cy="43149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579" kern="1200">
                  <a:solidFill>
                    <a:prstClr val="white"/>
                  </a:solidFill>
                  <a:latin typeface="Arial" panose="020B0604020202020204"/>
                  <a:sym typeface="Arial"/>
                </a:endParaRPr>
              </a:p>
            </p:txBody>
          </p:sp>
          <p:pic>
            <p:nvPicPr>
              <p:cNvPr id="42" name="Picture 14">
                <a:extLst>
                  <a:ext uri="{FF2B5EF4-FFF2-40B4-BE49-F238E27FC236}">
                    <a16:creationId xmlns:a16="http://schemas.microsoft.com/office/drawing/2014/main" id="{856D7235-6F64-C90E-C6F0-73ABA7CECF92}"/>
                  </a:ext>
                </a:extLst>
              </p:cNvPr>
              <p:cNvPicPr>
                <a:picLocks noChangeAspect="1" noChangeArrowheads="1"/>
              </p:cNvPicPr>
              <p:nvPr/>
            </p:nvPicPr>
            <p:blipFill>
              <a:blip r:embed="rId8"/>
              <a:srcRect/>
              <a:stretch/>
            </p:blipFill>
            <p:spPr bwMode="auto">
              <a:xfrm>
                <a:off x="2193704" y="4813419"/>
                <a:ext cx="698070" cy="4653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a:extLst>
                <a:ext uri="{FF2B5EF4-FFF2-40B4-BE49-F238E27FC236}">
                  <a16:creationId xmlns:a16="http://schemas.microsoft.com/office/drawing/2014/main" id="{E7884F97-EC2D-D76B-95B2-56B9784A511E}"/>
                </a:ext>
              </a:extLst>
            </p:cNvPr>
            <p:cNvGrpSpPr/>
            <p:nvPr/>
          </p:nvGrpSpPr>
          <p:grpSpPr>
            <a:xfrm>
              <a:off x="4068933" y="4493254"/>
              <a:ext cx="948150" cy="693689"/>
              <a:chOff x="777829" y="5461954"/>
              <a:chExt cx="948150" cy="693689"/>
            </a:xfrm>
          </p:grpSpPr>
          <p:sp>
            <p:nvSpPr>
              <p:cNvPr id="39" name="Rectangle: Rounded Corners 38">
                <a:extLst>
                  <a:ext uri="{FF2B5EF4-FFF2-40B4-BE49-F238E27FC236}">
                    <a16:creationId xmlns:a16="http://schemas.microsoft.com/office/drawing/2014/main" id="{47AF7028-0402-BCF6-7962-5290A076BEC1}"/>
                  </a:ext>
                </a:extLst>
              </p:cNvPr>
              <p:cNvSpPr/>
              <p:nvPr/>
            </p:nvSpPr>
            <p:spPr>
              <a:xfrm>
                <a:off x="777829" y="5601163"/>
                <a:ext cx="948150" cy="43149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579" kern="1200">
                  <a:solidFill>
                    <a:prstClr val="white"/>
                  </a:solidFill>
                  <a:latin typeface="Arial" panose="020B0604020202020204"/>
                  <a:sym typeface="Arial"/>
                </a:endParaRPr>
              </a:p>
            </p:txBody>
          </p:sp>
          <p:pic>
            <p:nvPicPr>
              <p:cNvPr id="40" name="Picture 2">
                <a:extLst>
                  <a:ext uri="{FF2B5EF4-FFF2-40B4-BE49-F238E27FC236}">
                    <a16:creationId xmlns:a16="http://schemas.microsoft.com/office/drawing/2014/main" id="{81A809CA-A739-F5DF-F3EB-5D44037EBF9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1988" y="5461954"/>
                <a:ext cx="693689" cy="693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5" name="Group 44">
            <a:extLst>
              <a:ext uri="{FF2B5EF4-FFF2-40B4-BE49-F238E27FC236}">
                <a16:creationId xmlns:a16="http://schemas.microsoft.com/office/drawing/2014/main" id="{8A9E82D2-CA47-A99E-6002-9EF681B7BAA4}"/>
              </a:ext>
            </a:extLst>
          </p:cNvPr>
          <p:cNvGrpSpPr/>
          <p:nvPr/>
        </p:nvGrpSpPr>
        <p:grpSpPr>
          <a:xfrm>
            <a:off x="9298566" y="3200084"/>
            <a:ext cx="954686" cy="1546007"/>
            <a:chOff x="10620920" y="3786459"/>
            <a:chExt cx="958505" cy="1461662"/>
          </a:xfrm>
        </p:grpSpPr>
        <p:sp>
          <p:nvSpPr>
            <p:cNvPr id="46" name="Rectangle: Rounded Corners 45">
              <a:extLst>
                <a:ext uri="{FF2B5EF4-FFF2-40B4-BE49-F238E27FC236}">
                  <a16:creationId xmlns:a16="http://schemas.microsoft.com/office/drawing/2014/main" id="{37782321-D124-5485-7BA5-A3C50FEC68D7}"/>
                </a:ext>
              </a:extLst>
            </p:cNvPr>
            <p:cNvSpPr/>
            <p:nvPr/>
          </p:nvSpPr>
          <p:spPr>
            <a:xfrm>
              <a:off x="10620920" y="3786459"/>
              <a:ext cx="948150" cy="43149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579" kern="1200">
                <a:solidFill>
                  <a:prstClr val="white"/>
                </a:solidFill>
                <a:latin typeface="Arial" panose="020B0604020202020204"/>
                <a:sym typeface="Arial"/>
              </a:endParaRPr>
            </a:p>
          </p:txBody>
        </p:sp>
        <p:sp>
          <p:nvSpPr>
            <p:cNvPr id="47" name="Rectangle: Rounded Corners 46">
              <a:extLst>
                <a:ext uri="{FF2B5EF4-FFF2-40B4-BE49-F238E27FC236}">
                  <a16:creationId xmlns:a16="http://schemas.microsoft.com/office/drawing/2014/main" id="{CAFD2905-DE32-CFFA-D7B1-CB553C175595}"/>
                </a:ext>
              </a:extLst>
            </p:cNvPr>
            <p:cNvSpPr/>
            <p:nvPr/>
          </p:nvSpPr>
          <p:spPr>
            <a:xfrm>
              <a:off x="10631274" y="4277438"/>
              <a:ext cx="948150" cy="43149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579" kern="1200">
                <a:solidFill>
                  <a:prstClr val="white"/>
                </a:solidFill>
                <a:latin typeface="Arial" panose="020B0604020202020204"/>
                <a:sym typeface="Arial"/>
              </a:endParaRPr>
            </a:p>
          </p:txBody>
        </p:sp>
        <p:sp>
          <p:nvSpPr>
            <p:cNvPr id="48" name="Rectangle: Rounded Corners 47">
              <a:extLst>
                <a:ext uri="{FF2B5EF4-FFF2-40B4-BE49-F238E27FC236}">
                  <a16:creationId xmlns:a16="http://schemas.microsoft.com/office/drawing/2014/main" id="{0E3A8F83-BD22-FB2C-1C2D-F027363820BF}"/>
                </a:ext>
              </a:extLst>
            </p:cNvPr>
            <p:cNvSpPr/>
            <p:nvPr/>
          </p:nvSpPr>
          <p:spPr>
            <a:xfrm>
              <a:off x="10631275" y="4779342"/>
              <a:ext cx="948150" cy="43149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579" kern="1200">
                <a:solidFill>
                  <a:prstClr val="white"/>
                </a:solidFill>
                <a:latin typeface="Arial" panose="020B0604020202020204"/>
                <a:sym typeface="Arial"/>
              </a:endParaRPr>
            </a:p>
          </p:txBody>
        </p:sp>
        <p:pic>
          <p:nvPicPr>
            <p:cNvPr id="49" name="Picture 2">
              <a:extLst>
                <a:ext uri="{FF2B5EF4-FFF2-40B4-BE49-F238E27FC236}">
                  <a16:creationId xmlns:a16="http://schemas.microsoft.com/office/drawing/2014/main" id="{907BEE1D-F2CF-BEFE-7CA5-003DC7D2CFB7}"/>
                </a:ext>
              </a:extLst>
            </p:cNvPr>
            <p:cNvPicPr>
              <a:picLocks noChangeAspect="1" noChangeArrowheads="1"/>
            </p:cNvPicPr>
            <p:nvPr/>
          </p:nvPicPr>
          <p:blipFill>
            <a:blip r:embed="rId10"/>
            <a:srcRect/>
            <a:stretch/>
          </p:blipFill>
          <p:spPr bwMode="auto">
            <a:xfrm>
              <a:off x="10891625" y="3843291"/>
              <a:ext cx="450983" cy="35127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a:extLst>
                <a:ext uri="{FF2B5EF4-FFF2-40B4-BE49-F238E27FC236}">
                  <a16:creationId xmlns:a16="http://schemas.microsoft.com/office/drawing/2014/main" id="{C951F108-1867-3701-6ADC-A59E2F12B5A9}"/>
                </a:ext>
              </a:extLst>
            </p:cNvPr>
            <p:cNvPicPr>
              <a:picLocks noChangeAspect="1" noChangeArrowheads="1"/>
            </p:cNvPicPr>
            <p:nvPr/>
          </p:nvPicPr>
          <p:blipFill>
            <a:blip r:embed="rId11"/>
            <a:srcRect/>
            <a:stretch/>
          </p:blipFill>
          <p:spPr bwMode="auto">
            <a:xfrm>
              <a:off x="10663034" y="4399214"/>
              <a:ext cx="851938" cy="23324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descr="Graphical user interface&#10;&#10;Description automatically generated with medium confidence">
              <a:extLst>
                <a:ext uri="{FF2B5EF4-FFF2-40B4-BE49-F238E27FC236}">
                  <a16:creationId xmlns:a16="http://schemas.microsoft.com/office/drawing/2014/main" id="{91A7D9F2-15AE-6A0F-E777-8409CB77F898}"/>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r="13607"/>
            <a:stretch/>
          </p:blipFill>
          <p:spPr>
            <a:xfrm>
              <a:off x="10679779" y="4814828"/>
              <a:ext cx="851143" cy="433293"/>
            </a:xfrm>
            <a:prstGeom prst="rect">
              <a:avLst/>
            </a:prstGeom>
          </p:spPr>
        </p:pic>
      </p:grpSp>
      <p:pic>
        <p:nvPicPr>
          <p:cNvPr id="52" name="Graphic 51">
            <a:extLst>
              <a:ext uri="{FF2B5EF4-FFF2-40B4-BE49-F238E27FC236}">
                <a16:creationId xmlns:a16="http://schemas.microsoft.com/office/drawing/2014/main" id="{6F2C5CB0-D4DD-B519-A759-91A57C7FF4A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769938" y="4987092"/>
            <a:ext cx="222222" cy="222222"/>
          </a:xfrm>
          <a:prstGeom prst="rect">
            <a:avLst/>
          </a:prstGeom>
        </p:spPr>
      </p:pic>
      <p:cxnSp>
        <p:nvCxnSpPr>
          <p:cNvPr id="54" name="Straight Connector 53">
            <a:extLst>
              <a:ext uri="{FF2B5EF4-FFF2-40B4-BE49-F238E27FC236}">
                <a16:creationId xmlns:a16="http://schemas.microsoft.com/office/drawing/2014/main" id="{5BC64C33-56AA-1D4F-7F79-15964AA1A717}"/>
              </a:ext>
            </a:extLst>
          </p:cNvPr>
          <p:cNvCxnSpPr>
            <a:cxnSpLocks/>
            <a:stCxn id="21" idx="7"/>
          </p:cNvCxnSpPr>
          <p:nvPr/>
        </p:nvCxnSpPr>
        <p:spPr>
          <a:xfrm flipV="1">
            <a:off x="3420717" y="4361291"/>
            <a:ext cx="149563" cy="88341"/>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FF9FB63-E168-3D9A-75F7-1C74DF5CDAA3}"/>
              </a:ext>
            </a:extLst>
          </p:cNvPr>
          <p:cNvCxnSpPr>
            <a:cxnSpLocks/>
            <a:stCxn id="15" idx="7"/>
          </p:cNvCxnSpPr>
          <p:nvPr/>
        </p:nvCxnSpPr>
        <p:spPr>
          <a:xfrm flipV="1">
            <a:off x="3990828" y="4802669"/>
            <a:ext cx="143077" cy="180906"/>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956167E-25E7-2718-D64F-768326579A0F}"/>
              </a:ext>
            </a:extLst>
          </p:cNvPr>
          <p:cNvCxnSpPr>
            <a:cxnSpLocks/>
          </p:cNvCxnSpPr>
          <p:nvPr/>
        </p:nvCxnSpPr>
        <p:spPr>
          <a:xfrm flipV="1">
            <a:off x="4825780" y="5012128"/>
            <a:ext cx="0" cy="201045"/>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5793B63-3FC6-182D-29A7-77C42AD723B0}"/>
              </a:ext>
            </a:extLst>
          </p:cNvPr>
          <p:cNvCxnSpPr>
            <a:cxnSpLocks/>
            <a:stCxn id="89" idx="1"/>
            <a:endCxn id="6" idx="2"/>
          </p:cNvCxnSpPr>
          <p:nvPr/>
        </p:nvCxnSpPr>
        <p:spPr>
          <a:xfrm flipH="1" flipV="1">
            <a:off x="6512080" y="4122077"/>
            <a:ext cx="288700" cy="213443"/>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B200AA9-B873-BD68-9EEB-B3F1963D3BAC}"/>
              </a:ext>
            </a:extLst>
          </p:cNvPr>
          <p:cNvCxnSpPr>
            <a:cxnSpLocks/>
          </p:cNvCxnSpPr>
          <p:nvPr/>
        </p:nvCxnSpPr>
        <p:spPr>
          <a:xfrm flipH="1" flipV="1">
            <a:off x="6224217" y="4554115"/>
            <a:ext cx="143077" cy="180906"/>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DB33E6E-8330-F524-168D-9BE2F0D4D2B2}"/>
              </a:ext>
            </a:extLst>
          </p:cNvPr>
          <p:cNvCxnSpPr>
            <a:cxnSpLocks/>
          </p:cNvCxnSpPr>
          <p:nvPr/>
        </p:nvCxnSpPr>
        <p:spPr>
          <a:xfrm flipH="1" flipV="1">
            <a:off x="5593242" y="4892878"/>
            <a:ext cx="143483" cy="196842"/>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D29779CF-88B7-E2F8-710C-D0CAABAD92EC}"/>
              </a:ext>
            </a:extLst>
          </p:cNvPr>
          <p:cNvGrpSpPr/>
          <p:nvPr/>
        </p:nvGrpSpPr>
        <p:grpSpPr>
          <a:xfrm>
            <a:off x="2713814" y="3404812"/>
            <a:ext cx="347325" cy="347325"/>
            <a:chOff x="6077686" y="3097835"/>
            <a:chExt cx="396000" cy="396000"/>
          </a:xfrm>
        </p:grpSpPr>
        <p:sp>
          <p:nvSpPr>
            <p:cNvPr id="65" name="Oval 64">
              <a:extLst>
                <a:ext uri="{FF2B5EF4-FFF2-40B4-BE49-F238E27FC236}">
                  <a16:creationId xmlns:a16="http://schemas.microsoft.com/office/drawing/2014/main" id="{C10CABEA-3BB1-994C-11F5-75FAF16423ED}"/>
                </a:ext>
              </a:extLst>
            </p:cNvPr>
            <p:cNvSpPr/>
            <p:nvPr/>
          </p:nvSpPr>
          <p:spPr>
            <a:xfrm>
              <a:off x="6077686" y="3097835"/>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kern="1200">
                <a:solidFill>
                  <a:prstClr val="white"/>
                </a:solidFill>
                <a:latin typeface="Arial" panose="020B0604020202020204"/>
                <a:sym typeface="Arial"/>
              </a:endParaRPr>
            </a:p>
          </p:txBody>
        </p:sp>
        <p:pic>
          <p:nvPicPr>
            <p:cNvPr id="66" name="Graphic 65">
              <a:extLst>
                <a:ext uri="{FF2B5EF4-FFF2-40B4-BE49-F238E27FC236}">
                  <a16:creationId xmlns:a16="http://schemas.microsoft.com/office/drawing/2014/main" id="{B514507C-6B38-B97D-E6E6-3D69D43162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45225" y="3177367"/>
              <a:ext cx="254284" cy="254284"/>
            </a:xfrm>
            <a:prstGeom prst="rect">
              <a:avLst/>
            </a:prstGeom>
          </p:spPr>
        </p:pic>
      </p:grpSp>
      <p:sp>
        <p:nvSpPr>
          <p:cNvPr id="67" name="TextBox 66">
            <a:extLst>
              <a:ext uri="{FF2B5EF4-FFF2-40B4-BE49-F238E27FC236}">
                <a16:creationId xmlns:a16="http://schemas.microsoft.com/office/drawing/2014/main" id="{E11782FA-CFFE-3351-8FBE-838AF2787E1E}"/>
              </a:ext>
            </a:extLst>
          </p:cNvPr>
          <p:cNvSpPr txBox="1"/>
          <p:nvPr/>
        </p:nvSpPr>
        <p:spPr>
          <a:xfrm>
            <a:off x="2130717" y="3768859"/>
            <a:ext cx="1369403" cy="470257"/>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Document signing</a:t>
            </a:r>
          </a:p>
        </p:txBody>
      </p:sp>
      <p:cxnSp>
        <p:nvCxnSpPr>
          <p:cNvPr id="68" name="Straight Connector 67">
            <a:extLst>
              <a:ext uri="{FF2B5EF4-FFF2-40B4-BE49-F238E27FC236}">
                <a16:creationId xmlns:a16="http://schemas.microsoft.com/office/drawing/2014/main" id="{4FC112EA-005B-4046-B0FC-517D81D187F5}"/>
              </a:ext>
            </a:extLst>
          </p:cNvPr>
          <p:cNvCxnSpPr>
            <a:cxnSpLocks/>
            <a:stCxn id="65" idx="7"/>
          </p:cNvCxnSpPr>
          <p:nvPr/>
        </p:nvCxnSpPr>
        <p:spPr>
          <a:xfrm flipV="1">
            <a:off x="3010276" y="3395067"/>
            <a:ext cx="224629" cy="60611"/>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F068BF16-1286-6CE6-77E5-FD9A288EB79A}"/>
              </a:ext>
            </a:extLst>
          </p:cNvPr>
          <p:cNvSpPr txBox="1"/>
          <p:nvPr/>
        </p:nvSpPr>
        <p:spPr>
          <a:xfrm>
            <a:off x="6821261" y="3676825"/>
            <a:ext cx="1193615" cy="281295"/>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Credit score</a:t>
            </a:r>
          </a:p>
        </p:txBody>
      </p:sp>
      <p:grpSp>
        <p:nvGrpSpPr>
          <p:cNvPr id="71" name="Group 70">
            <a:extLst>
              <a:ext uri="{FF2B5EF4-FFF2-40B4-BE49-F238E27FC236}">
                <a16:creationId xmlns:a16="http://schemas.microsoft.com/office/drawing/2014/main" id="{5BABA5FC-0AAB-29A1-D6DA-ECAD01521EC5}"/>
              </a:ext>
            </a:extLst>
          </p:cNvPr>
          <p:cNvGrpSpPr/>
          <p:nvPr/>
        </p:nvGrpSpPr>
        <p:grpSpPr>
          <a:xfrm>
            <a:off x="6854812" y="2415833"/>
            <a:ext cx="347325" cy="347325"/>
            <a:chOff x="7065973" y="2235989"/>
            <a:chExt cx="396000" cy="396000"/>
          </a:xfrm>
        </p:grpSpPr>
        <p:sp>
          <p:nvSpPr>
            <p:cNvPr id="72" name="Oval 71">
              <a:extLst>
                <a:ext uri="{FF2B5EF4-FFF2-40B4-BE49-F238E27FC236}">
                  <a16:creationId xmlns:a16="http://schemas.microsoft.com/office/drawing/2014/main" id="{8A6FF3B3-09CE-9A2F-E9F8-40500A42FC62}"/>
                </a:ext>
              </a:extLst>
            </p:cNvPr>
            <p:cNvSpPr/>
            <p:nvPr/>
          </p:nvSpPr>
          <p:spPr>
            <a:xfrm>
              <a:off x="7065973" y="2235989"/>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b="1" kern="1200">
                <a:solidFill>
                  <a:prstClr val="white"/>
                </a:solidFill>
                <a:latin typeface="Arial" panose="020B0604020202020204"/>
                <a:sym typeface="Arial"/>
              </a:endParaRPr>
            </a:p>
          </p:txBody>
        </p:sp>
        <p:pic>
          <p:nvPicPr>
            <p:cNvPr id="73" name="Graphic 72">
              <a:extLst>
                <a:ext uri="{FF2B5EF4-FFF2-40B4-BE49-F238E27FC236}">
                  <a16:creationId xmlns:a16="http://schemas.microsoft.com/office/drawing/2014/main" id="{FCC06AA4-DEB3-4815-EEEE-F41118A55E2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159432" y="2329448"/>
              <a:ext cx="209083" cy="209083"/>
            </a:xfrm>
            <a:prstGeom prst="rect">
              <a:avLst/>
            </a:prstGeom>
          </p:spPr>
        </p:pic>
      </p:grpSp>
      <p:cxnSp>
        <p:nvCxnSpPr>
          <p:cNvPr id="74" name="Straight Connector 73">
            <a:extLst>
              <a:ext uri="{FF2B5EF4-FFF2-40B4-BE49-F238E27FC236}">
                <a16:creationId xmlns:a16="http://schemas.microsoft.com/office/drawing/2014/main" id="{25AE70E4-E040-DA8A-4AB4-3279DB522C91}"/>
              </a:ext>
            </a:extLst>
          </p:cNvPr>
          <p:cNvCxnSpPr>
            <a:cxnSpLocks/>
          </p:cNvCxnSpPr>
          <p:nvPr/>
        </p:nvCxnSpPr>
        <p:spPr>
          <a:xfrm flipH="1">
            <a:off x="6601527" y="2600767"/>
            <a:ext cx="223238" cy="11622"/>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64A50AAF-BFD6-AB18-8C29-12B098B3CDB2}"/>
              </a:ext>
            </a:extLst>
          </p:cNvPr>
          <p:cNvSpPr txBox="1"/>
          <p:nvPr/>
        </p:nvSpPr>
        <p:spPr>
          <a:xfrm>
            <a:off x="6673239" y="2779601"/>
            <a:ext cx="1410111" cy="281295"/>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ID verification</a:t>
            </a:r>
          </a:p>
        </p:txBody>
      </p:sp>
      <p:sp>
        <p:nvSpPr>
          <p:cNvPr id="78" name="Oval 77">
            <a:extLst>
              <a:ext uri="{FF2B5EF4-FFF2-40B4-BE49-F238E27FC236}">
                <a16:creationId xmlns:a16="http://schemas.microsoft.com/office/drawing/2014/main" id="{07D3338A-2645-4E75-1933-02560276EF4F}"/>
              </a:ext>
            </a:extLst>
          </p:cNvPr>
          <p:cNvSpPr/>
          <p:nvPr/>
        </p:nvSpPr>
        <p:spPr>
          <a:xfrm>
            <a:off x="2763826" y="2333862"/>
            <a:ext cx="347325" cy="3473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kern="1200">
              <a:solidFill>
                <a:prstClr val="white"/>
              </a:solidFill>
              <a:latin typeface="Arial" panose="020B0604020202020204"/>
              <a:sym typeface="Arial"/>
            </a:endParaRPr>
          </a:p>
        </p:txBody>
      </p:sp>
      <p:sp>
        <p:nvSpPr>
          <p:cNvPr id="80" name="TextBox 79">
            <a:extLst>
              <a:ext uri="{FF2B5EF4-FFF2-40B4-BE49-F238E27FC236}">
                <a16:creationId xmlns:a16="http://schemas.microsoft.com/office/drawing/2014/main" id="{20CB164F-4C7E-B4EC-AC44-880B7634DBA3}"/>
              </a:ext>
            </a:extLst>
          </p:cNvPr>
          <p:cNvSpPr txBox="1"/>
          <p:nvPr/>
        </p:nvSpPr>
        <p:spPr>
          <a:xfrm>
            <a:off x="2092248" y="2653443"/>
            <a:ext cx="1426156" cy="470257"/>
          </a:xfrm>
          <a:prstGeom prst="rect">
            <a:avLst/>
          </a:prstGeom>
          <a:noFill/>
        </p:spPr>
        <p:txBody>
          <a:bodyPr wrap="square" rtlCol="0">
            <a:spAutoFit/>
          </a:bodyPr>
          <a:lstStyle/>
          <a:p>
            <a:pPr algn="ctr" defTabSz="802000" rtl="0">
              <a:defRPr/>
            </a:pPr>
            <a:r>
              <a:rPr lang="en-AU" sz="1228" kern="1200">
                <a:solidFill>
                  <a:prstClr val="white"/>
                </a:solidFill>
                <a:latin typeface="Proxima Nova" panose="02000506030000020004" pitchFamily="50" charset="0"/>
                <a:ea typeface="+mn-ea"/>
                <a:cs typeface="Arial"/>
                <a:sym typeface="Arial"/>
              </a:rPr>
              <a:t>Dark web scanning</a:t>
            </a:r>
          </a:p>
        </p:txBody>
      </p:sp>
      <p:cxnSp>
        <p:nvCxnSpPr>
          <p:cNvPr id="81" name="Straight Connector 80">
            <a:extLst>
              <a:ext uri="{FF2B5EF4-FFF2-40B4-BE49-F238E27FC236}">
                <a16:creationId xmlns:a16="http://schemas.microsoft.com/office/drawing/2014/main" id="{B86DAC2C-67DD-5D0F-BE68-C96543111480}"/>
              </a:ext>
            </a:extLst>
          </p:cNvPr>
          <p:cNvCxnSpPr>
            <a:cxnSpLocks/>
            <a:stCxn id="78" idx="6"/>
          </p:cNvCxnSpPr>
          <p:nvPr/>
        </p:nvCxnSpPr>
        <p:spPr>
          <a:xfrm>
            <a:off x="3111151" y="2507525"/>
            <a:ext cx="247568" cy="8205"/>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85" name="Graphic 84">
            <a:extLst>
              <a:ext uri="{FF2B5EF4-FFF2-40B4-BE49-F238E27FC236}">
                <a16:creationId xmlns:a16="http://schemas.microsoft.com/office/drawing/2014/main" id="{3A233C65-6A6A-7299-3682-9D1EF7460DC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833065" y="2417383"/>
            <a:ext cx="183383" cy="183383"/>
          </a:xfrm>
          <a:prstGeom prst="rect">
            <a:avLst/>
          </a:prstGeom>
        </p:spPr>
      </p:pic>
      <p:pic>
        <p:nvPicPr>
          <p:cNvPr id="79" name="Graphic 78" descr="Research outline">
            <a:extLst>
              <a:ext uri="{FF2B5EF4-FFF2-40B4-BE49-F238E27FC236}">
                <a16:creationId xmlns:a16="http://schemas.microsoft.com/office/drawing/2014/main" id="{6A036E30-51F3-B882-FF7B-4A1DDECF65C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10069" y="4727125"/>
            <a:ext cx="324848" cy="324848"/>
          </a:xfrm>
          <a:prstGeom prst="rect">
            <a:avLst/>
          </a:prstGeom>
        </p:spPr>
      </p:pic>
      <p:pic>
        <p:nvPicPr>
          <p:cNvPr id="83" name="Graphic 82" descr="Cloud outline">
            <a:extLst>
              <a:ext uri="{FF2B5EF4-FFF2-40B4-BE49-F238E27FC236}">
                <a16:creationId xmlns:a16="http://schemas.microsoft.com/office/drawing/2014/main" id="{B6B2123E-D460-67A0-7CA6-1DD877F4865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661568" y="5209313"/>
            <a:ext cx="347325" cy="347325"/>
          </a:xfrm>
          <a:prstGeom prst="rect">
            <a:avLst/>
          </a:prstGeom>
        </p:spPr>
      </p:pic>
      <p:pic>
        <p:nvPicPr>
          <p:cNvPr id="87" name="Graphic 86" descr="Cloud outline">
            <a:extLst>
              <a:ext uri="{FF2B5EF4-FFF2-40B4-BE49-F238E27FC236}">
                <a16:creationId xmlns:a16="http://schemas.microsoft.com/office/drawing/2014/main" id="{C992B5A4-7728-FF35-173E-D6666D473E7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593128" y="5076006"/>
            <a:ext cx="347325" cy="347325"/>
          </a:xfrm>
          <a:prstGeom prst="rect">
            <a:avLst/>
          </a:prstGeom>
        </p:spPr>
      </p:pic>
      <p:pic>
        <p:nvPicPr>
          <p:cNvPr id="89" name="Graphic 88" descr="Safe outline">
            <a:extLst>
              <a:ext uri="{FF2B5EF4-FFF2-40B4-BE49-F238E27FC236}">
                <a16:creationId xmlns:a16="http://schemas.microsoft.com/office/drawing/2014/main" id="{04FA4407-398D-7AB7-92A5-A1137544E64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800779" y="4170581"/>
            <a:ext cx="329877" cy="329877"/>
          </a:xfrm>
          <a:prstGeom prst="rect">
            <a:avLst/>
          </a:prstGeom>
        </p:spPr>
      </p:pic>
      <p:grpSp>
        <p:nvGrpSpPr>
          <p:cNvPr id="3" name="Group 2">
            <a:extLst>
              <a:ext uri="{FF2B5EF4-FFF2-40B4-BE49-F238E27FC236}">
                <a16:creationId xmlns:a16="http://schemas.microsoft.com/office/drawing/2014/main" id="{2BA4E5B7-5914-5E8C-0891-FDD1D7539F47}"/>
              </a:ext>
            </a:extLst>
          </p:cNvPr>
          <p:cNvGrpSpPr/>
          <p:nvPr/>
        </p:nvGrpSpPr>
        <p:grpSpPr>
          <a:xfrm>
            <a:off x="6923795" y="3293910"/>
            <a:ext cx="347325" cy="347325"/>
            <a:chOff x="7065973" y="2235989"/>
            <a:chExt cx="396000" cy="396000"/>
          </a:xfrm>
        </p:grpSpPr>
        <p:sp>
          <p:nvSpPr>
            <p:cNvPr id="16" name="Oval 15">
              <a:extLst>
                <a:ext uri="{FF2B5EF4-FFF2-40B4-BE49-F238E27FC236}">
                  <a16:creationId xmlns:a16="http://schemas.microsoft.com/office/drawing/2014/main" id="{70AD07EB-3A0E-82C5-944F-070B59F3982A}"/>
                </a:ext>
              </a:extLst>
            </p:cNvPr>
            <p:cNvSpPr/>
            <p:nvPr/>
          </p:nvSpPr>
          <p:spPr>
            <a:xfrm>
              <a:off x="7065973" y="2235989"/>
              <a:ext cx="396000" cy="39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2000" rtl="0">
                <a:defRPr/>
              </a:pPr>
              <a:endParaRPr lang="en-AU" sz="1228" b="1" kern="1200">
                <a:solidFill>
                  <a:prstClr val="white"/>
                </a:solidFill>
                <a:latin typeface="Arial" panose="020B0604020202020204"/>
                <a:sym typeface="Arial"/>
              </a:endParaRPr>
            </a:p>
          </p:txBody>
        </p:sp>
        <p:pic>
          <p:nvPicPr>
            <p:cNvPr id="18" name="Graphic 17">
              <a:extLst>
                <a:ext uri="{FF2B5EF4-FFF2-40B4-BE49-F238E27FC236}">
                  <a16:creationId xmlns:a16="http://schemas.microsoft.com/office/drawing/2014/main" id="{315FD115-3EE0-ACD8-CB96-AD71DB37FED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159432" y="2329448"/>
              <a:ext cx="209083" cy="209083"/>
            </a:xfrm>
            <a:prstGeom prst="rect">
              <a:avLst/>
            </a:prstGeom>
          </p:spPr>
        </p:pic>
      </p:grpSp>
      <p:cxnSp>
        <p:nvCxnSpPr>
          <p:cNvPr id="63" name="Straight Connector 62">
            <a:extLst>
              <a:ext uri="{FF2B5EF4-FFF2-40B4-BE49-F238E27FC236}">
                <a16:creationId xmlns:a16="http://schemas.microsoft.com/office/drawing/2014/main" id="{88775BCF-3EFA-42FA-687E-E330D2037800}"/>
              </a:ext>
            </a:extLst>
          </p:cNvPr>
          <p:cNvCxnSpPr>
            <a:cxnSpLocks/>
          </p:cNvCxnSpPr>
          <p:nvPr/>
        </p:nvCxnSpPr>
        <p:spPr>
          <a:xfrm flipH="1" flipV="1">
            <a:off x="6746314" y="3349024"/>
            <a:ext cx="168683" cy="96299"/>
          </a:xfrm>
          <a:prstGeom prst="line">
            <a:avLst/>
          </a:prstGeom>
          <a:ln w="9525">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49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EF948-14AB-536C-C66F-6F21DCCBBB5A}"/>
              </a:ext>
            </a:extLst>
          </p:cNvPr>
          <p:cNvSpPr>
            <a:spLocks noGrp="1"/>
          </p:cNvSpPr>
          <p:nvPr>
            <p:ph type="title"/>
          </p:nvPr>
        </p:nvSpPr>
        <p:spPr>
          <a:xfrm>
            <a:off x="1169456" y="1054100"/>
            <a:ext cx="7834844" cy="438150"/>
          </a:xfrm>
        </p:spPr>
        <p:txBody>
          <a:bodyPr/>
          <a:lstStyle/>
          <a:p>
            <a:r>
              <a:rPr lang="en-AU"/>
              <a:t>Protect &amp; Grow/Maintain Your Wealth</a:t>
            </a:r>
          </a:p>
        </p:txBody>
      </p:sp>
      <p:pic>
        <p:nvPicPr>
          <p:cNvPr id="7" name="Picture 6">
            <a:extLst>
              <a:ext uri="{FF2B5EF4-FFF2-40B4-BE49-F238E27FC236}">
                <a16:creationId xmlns:a16="http://schemas.microsoft.com/office/drawing/2014/main" id="{88A459A7-8E8E-705A-9872-9AE6A099397C}"/>
              </a:ext>
            </a:extLst>
          </p:cNvPr>
          <p:cNvPicPr>
            <a:picLocks noChangeAspect="1"/>
          </p:cNvPicPr>
          <p:nvPr/>
        </p:nvPicPr>
        <p:blipFill>
          <a:blip r:embed="rId2"/>
          <a:stretch>
            <a:fillRect/>
          </a:stretch>
        </p:blipFill>
        <p:spPr>
          <a:xfrm>
            <a:off x="1411403" y="1627309"/>
            <a:ext cx="8191052" cy="5500854"/>
          </a:xfrm>
          <a:prstGeom prst="rect">
            <a:avLst/>
          </a:prstGeom>
        </p:spPr>
      </p:pic>
      <p:sp>
        <p:nvSpPr>
          <p:cNvPr id="3" name="Slide Number Placeholder 3">
            <a:extLst>
              <a:ext uri="{FF2B5EF4-FFF2-40B4-BE49-F238E27FC236}">
                <a16:creationId xmlns:a16="http://schemas.microsoft.com/office/drawing/2014/main" id="{CEBD5874-E1B4-100B-9B27-1F72EBD15440}"/>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22</a:t>
            </a:fld>
            <a:endParaRPr lang="en-AU" dirty="0"/>
          </a:p>
        </p:txBody>
      </p:sp>
    </p:spTree>
    <p:extLst>
      <p:ext uri="{BB962C8B-B14F-4D97-AF65-F5344CB8AC3E}">
        <p14:creationId xmlns:p14="http://schemas.microsoft.com/office/powerpoint/2010/main" val="1571956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576995-140D-9167-FF7E-80D5EDAFE9CF}"/>
              </a:ext>
            </a:extLst>
          </p:cNvPr>
          <p:cNvSpPr>
            <a:spLocks noGrp="1"/>
          </p:cNvSpPr>
          <p:nvPr>
            <p:ph type="title"/>
          </p:nvPr>
        </p:nvSpPr>
        <p:spPr>
          <a:xfrm>
            <a:off x="1169456" y="1054100"/>
            <a:ext cx="7834844" cy="861774"/>
          </a:xfrm>
        </p:spPr>
        <p:txBody>
          <a:bodyPr/>
          <a:lstStyle/>
          <a:p>
            <a:r>
              <a:rPr lang="en-AU" dirty="0"/>
              <a:t>Family Wealth Business for the Future</a:t>
            </a:r>
          </a:p>
        </p:txBody>
      </p:sp>
      <p:pic>
        <p:nvPicPr>
          <p:cNvPr id="5" name="Picture 4">
            <a:extLst>
              <a:ext uri="{FF2B5EF4-FFF2-40B4-BE49-F238E27FC236}">
                <a16:creationId xmlns:a16="http://schemas.microsoft.com/office/drawing/2014/main" id="{8352ED6A-F893-FAA3-7737-90E5242BED9C}"/>
              </a:ext>
            </a:extLst>
          </p:cNvPr>
          <p:cNvPicPr>
            <a:picLocks noChangeAspect="1"/>
          </p:cNvPicPr>
          <p:nvPr/>
        </p:nvPicPr>
        <p:blipFill>
          <a:blip r:embed="rId2" cstate="print">
            <a:extLst>
              <a:ext uri="{28A0092B-C50C-407E-A947-70E740481C1C}">
                <a14:useLocalDpi xmlns:a14="http://schemas.microsoft.com/office/drawing/2010/main" val="0"/>
              </a:ext>
            </a:extLst>
          </a:blip>
          <a:srcRect l="3670"/>
          <a:stretch/>
        </p:blipFill>
        <p:spPr>
          <a:xfrm>
            <a:off x="7618944" y="2406650"/>
            <a:ext cx="1964169" cy="2349500"/>
          </a:xfrm>
          <a:prstGeom prst="rect">
            <a:avLst/>
          </a:prstGeom>
        </p:spPr>
      </p:pic>
      <p:pic>
        <p:nvPicPr>
          <p:cNvPr id="3" name="Picture 2">
            <a:extLst>
              <a:ext uri="{FF2B5EF4-FFF2-40B4-BE49-F238E27FC236}">
                <a16:creationId xmlns:a16="http://schemas.microsoft.com/office/drawing/2014/main" id="{E3F66F70-39E6-FC40-46C0-A63C1AD344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3900" y="1473802"/>
            <a:ext cx="5625044" cy="5583144"/>
          </a:xfrm>
          <a:prstGeom prst="rect">
            <a:avLst/>
          </a:prstGeom>
        </p:spPr>
      </p:pic>
      <p:sp>
        <p:nvSpPr>
          <p:cNvPr id="2" name="Slide Number Placeholder 3">
            <a:extLst>
              <a:ext uri="{FF2B5EF4-FFF2-40B4-BE49-F238E27FC236}">
                <a16:creationId xmlns:a16="http://schemas.microsoft.com/office/drawing/2014/main" id="{72AFF19F-8DA9-9857-C6B2-EB98D55C807A}"/>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23</a:t>
            </a:fld>
            <a:endParaRPr lang="en-AU" dirty="0"/>
          </a:p>
        </p:txBody>
      </p:sp>
    </p:spTree>
    <p:extLst>
      <p:ext uri="{BB962C8B-B14F-4D97-AF65-F5344CB8AC3E}">
        <p14:creationId xmlns:p14="http://schemas.microsoft.com/office/powerpoint/2010/main" val="37881886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8" y="1070509"/>
            <a:ext cx="7626141" cy="443595"/>
          </a:xfrm>
          <a:prstGeom prst="rect">
            <a:avLst/>
          </a:prstGeom>
        </p:spPr>
        <p:txBody>
          <a:bodyPr vert="horz" wrap="square" lIns="0" tIns="12585" rIns="0" bIns="0" rtlCol="0">
            <a:spAutoFit/>
          </a:bodyPr>
          <a:lstStyle/>
          <a:p>
            <a:pPr marL="12587" rtl="0">
              <a:spcBef>
                <a:spcPts val="99"/>
              </a:spcBef>
            </a:pPr>
            <a:r>
              <a:rPr lang="en-AU" spc="-10" dirty="0"/>
              <a:t>Protect &amp; Grow The Family Wealth</a:t>
            </a:r>
            <a:endParaRPr spc="-10" dirty="0"/>
          </a:p>
        </p:txBody>
      </p:sp>
      <p:pic>
        <p:nvPicPr>
          <p:cNvPr id="4" name="Picture 3">
            <a:extLst>
              <a:ext uri="{FF2B5EF4-FFF2-40B4-BE49-F238E27FC236}">
                <a16:creationId xmlns:a16="http://schemas.microsoft.com/office/drawing/2014/main" id="{3F8D62D9-0C1C-AD93-C312-C477214C3E65}"/>
              </a:ext>
            </a:extLst>
          </p:cNvPr>
          <p:cNvPicPr>
            <a:picLocks noChangeAspect="1"/>
          </p:cNvPicPr>
          <p:nvPr/>
        </p:nvPicPr>
        <p:blipFill>
          <a:blip r:embed="rId3"/>
          <a:stretch>
            <a:fillRect/>
          </a:stretch>
        </p:blipFill>
        <p:spPr>
          <a:xfrm>
            <a:off x="1225758" y="1949450"/>
            <a:ext cx="9021434" cy="4772691"/>
          </a:xfrm>
          <a:prstGeom prst="rect">
            <a:avLst/>
          </a:prstGeom>
        </p:spPr>
      </p:pic>
    </p:spTree>
    <p:extLst>
      <p:ext uri="{BB962C8B-B14F-4D97-AF65-F5344CB8AC3E}">
        <p14:creationId xmlns:p14="http://schemas.microsoft.com/office/powerpoint/2010/main" val="28452205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8" y="1070509"/>
            <a:ext cx="7626141" cy="443595"/>
          </a:xfrm>
          <a:prstGeom prst="rect">
            <a:avLst/>
          </a:prstGeom>
        </p:spPr>
        <p:txBody>
          <a:bodyPr vert="horz" wrap="square" lIns="0" tIns="12585" rIns="0" bIns="0" rtlCol="0">
            <a:spAutoFit/>
          </a:bodyPr>
          <a:lstStyle/>
          <a:p>
            <a:pPr marL="12587" rtl="0">
              <a:spcBef>
                <a:spcPts val="99"/>
              </a:spcBef>
            </a:pPr>
            <a:r>
              <a:rPr lang="en-AU" spc="-10" dirty="0"/>
              <a:t>SAN Family Wealth Adviser  - Tools</a:t>
            </a:r>
            <a:endParaRPr spc="-10" dirty="0"/>
          </a:p>
        </p:txBody>
      </p:sp>
      <p:pic>
        <p:nvPicPr>
          <p:cNvPr id="4" name="Picture 3">
            <a:extLst>
              <a:ext uri="{FF2B5EF4-FFF2-40B4-BE49-F238E27FC236}">
                <a16:creationId xmlns:a16="http://schemas.microsoft.com/office/drawing/2014/main" id="{2E8342FA-FCE5-1893-8A09-A77D01F1C2D8}"/>
              </a:ext>
            </a:extLst>
          </p:cNvPr>
          <p:cNvPicPr>
            <a:picLocks noChangeAspect="1"/>
          </p:cNvPicPr>
          <p:nvPr/>
        </p:nvPicPr>
        <p:blipFill>
          <a:blip r:embed="rId3"/>
          <a:stretch>
            <a:fillRect/>
          </a:stretch>
        </p:blipFill>
        <p:spPr>
          <a:xfrm>
            <a:off x="1460500" y="1544699"/>
            <a:ext cx="8278444" cy="5931229"/>
          </a:xfrm>
          <a:prstGeom prst="rect">
            <a:avLst/>
          </a:prstGeom>
        </p:spPr>
      </p:pic>
    </p:spTree>
    <p:extLst>
      <p:ext uri="{BB962C8B-B14F-4D97-AF65-F5344CB8AC3E}">
        <p14:creationId xmlns:p14="http://schemas.microsoft.com/office/powerpoint/2010/main" val="698741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8" y="1070509"/>
            <a:ext cx="7626141" cy="443595"/>
          </a:xfrm>
          <a:prstGeom prst="rect">
            <a:avLst/>
          </a:prstGeom>
        </p:spPr>
        <p:txBody>
          <a:bodyPr vert="horz" wrap="square" lIns="0" tIns="12585" rIns="0" bIns="0" rtlCol="0">
            <a:spAutoFit/>
          </a:bodyPr>
          <a:lstStyle/>
          <a:p>
            <a:pPr marL="12587" rtl="0">
              <a:spcBef>
                <a:spcPts val="99"/>
              </a:spcBef>
            </a:pPr>
            <a:r>
              <a:rPr lang="en-US" b="0" i="0" dirty="0">
                <a:solidFill>
                  <a:srgbClr val="000000"/>
                </a:solidFill>
                <a:effectLst/>
              </a:rPr>
              <a:t>Advising Significant </a:t>
            </a:r>
            <a:r>
              <a:rPr lang="en-US" dirty="0">
                <a:solidFill>
                  <a:srgbClr val="000000"/>
                </a:solidFill>
              </a:rPr>
              <a:t>F</a:t>
            </a:r>
            <a:r>
              <a:rPr lang="en-US" b="0" i="0" dirty="0">
                <a:solidFill>
                  <a:srgbClr val="000000"/>
                </a:solidFill>
                <a:effectLst/>
              </a:rPr>
              <a:t>amilies </a:t>
            </a:r>
            <a:endParaRPr spc="-10" dirty="0"/>
          </a:p>
        </p:txBody>
      </p:sp>
      <p:pic>
        <p:nvPicPr>
          <p:cNvPr id="4" name="Picture 3">
            <a:extLst>
              <a:ext uri="{FF2B5EF4-FFF2-40B4-BE49-F238E27FC236}">
                <a16:creationId xmlns:a16="http://schemas.microsoft.com/office/drawing/2014/main" id="{EAFE49E3-CFCC-DDB3-ED8C-DCD8243E35DC}"/>
              </a:ext>
            </a:extLst>
          </p:cNvPr>
          <p:cNvPicPr>
            <a:picLocks noChangeAspect="1"/>
          </p:cNvPicPr>
          <p:nvPr/>
        </p:nvPicPr>
        <p:blipFill>
          <a:blip r:embed="rId3"/>
          <a:stretch>
            <a:fillRect/>
          </a:stretch>
        </p:blipFill>
        <p:spPr>
          <a:xfrm>
            <a:off x="1894361" y="2025650"/>
            <a:ext cx="6904678" cy="5391562"/>
          </a:xfrm>
          <a:prstGeom prst="rect">
            <a:avLst/>
          </a:prstGeom>
        </p:spPr>
      </p:pic>
    </p:spTree>
    <p:extLst>
      <p:ext uri="{BB962C8B-B14F-4D97-AF65-F5344CB8AC3E}">
        <p14:creationId xmlns:p14="http://schemas.microsoft.com/office/powerpoint/2010/main" val="38463910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0589BC-B6BA-3F04-2540-2B7DE1429763}"/>
              </a:ext>
            </a:extLst>
          </p:cNvPr>
          <p:cNvSpPr>
            <a:spLocks noGrp="1"/>
          </p:cNvSpPr>
          <p:nvPr>
            <p:ph type="sldNum" sz="quarter" idx="7"/>
          </p:nvPr>
        </p:nvSpPr>
        <p:spPr/>
        <p:txBody>
          <a:bodyPr/>
          <a:lstStyle/>
          <a:p>
            <a:fld id="{B6F15528-21DE-4FAA-801E-634DDDAF4B2B}" type="slidenum">
              <a:rPr lang="en-AU" smtClean="0"/>
              <a:t>27</a:t>
            </a:fld>
            <a:endParaRPr lang="en-AU"/>
          </a:p>
        </p:txBody>
      </p:sp>
      <p:sp>
        <p:nvSpPr>
          <p:cNvPr id="5" name="TextBox 4">
            <a:extLst>
              <a:ext uri="{FF2B5EF4-FFF2-40B4-BE49-F238E27FC236}">
                <a16:creationId xmlns:a16="http://schemas.microsoft.com/office/drawing/2014/main" id="{ED49EB8A-70E7-FA52-41F3-C1364D50F593}"/>
              </a:ext>
            </a:extLst>
          </p:cNvPr>
          <p:cNvSpPr txBox="1"/>
          <p:nvPr/>
        </p:nvSpPr>
        <p:spPr>
          <a:xfrm>
            <a:off x="937718" y="997080"/>
            <a:ext cx="4180381" cy="523220"/>
          </a:xfrm>
          <a:prstGeom prst="rect">
            <a:avLst/>
          </a:prstGeom>
          <a:noFill/>
        </p:spPr>
        <p:txBody>
          <a:bodyPr wrap="square" rtlCol="0">
            <a:spAutoFit/>
          </a:bodyPr>
          <a:lstStyle/>
          <a:p>
            <a:r>
              <a:rPr lang="en-AU" sz="2800" dirty="0">
                <a:solidFill>
                  <a:srgbClr val="B68150"/>
                </a:solidFill>
                <a:latin typeface="Montserrat Medium" pitchFamily="2" charset="0"/>
              </a:rPr>
              <a:t>AGENDA DAY 2:</a:t>
            </a:r>
          </a:p>
        </p:txBody>
      </p:sp>
      <p:pic>
        <p:nvPicPr>
          <p:cNvPr id="4" name="Picture 3">
            <a:extLst>
              <a:ext uri="{FF2B5EF4-FFF2-40B4-BE49-F238E27FC236}">
                <a16:creationId xmlns:a16="http://schemas.microsoft.com/office/drawing/2014/main" id="{535B7596-57C2-A9EB-1BE4-3B552A6F32F6}"/>
              </a:ext>
            </a:extLst>
          </p:cNvPr>
          <p:cNvPicPr>
            <a:picLocks noChangeAspect="1"/>
          </p:cNvPicPr>
          <p:nvPr/>
        </p:nvPicPr>
        <p:blipFill>
          <a:blip r:embed="rId2"/>
          <a:stretch>
            <a:fillRect/>
          </a:stretch>
        </p:blipFill>
        <p:spPr>
          <a:xfrm>
            <a:off x="937718" y="1644650"/>
            <a:ext cx="9537700" cy="5184595"/>
          </a:xfrm>
          <a:prstGeom prst="rect">
            <a:avLst/>
          </a:prstGeom>
        </p:spPr>
      </p:pic>
    </p:spTree>
    <p:extLst>
      <p:ext uri="{BB962C8B-B14F-4D97-AF65-F5344CB8AC3E}">
        <p14:creationId xmlns:p14="http://schemas.microsoft.com/office/powerpoint/2010/main" val="677954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30071-A093-26EF-6E79-6717AF3F707A}"/>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83C0413C-0B55-471D-D310-BC31CF23845F}"/>
              </a:ext>
            </a:extLst>
          </p:cNvPr>
          <p:cNvSpPr>
            <a:spLocks noGrp="1"/>
          </p:cNvSpPr>
          <p:nvPr>
            <p:ph type="title"/>
          </p:nvPr>
        </p:nvSpPr>
        <p:spPr>
          <a:xfrm>
            <a:off x="955728" y="1464922"/>
            <a:ext cx="3509916" cy="321812"/>
          </a:xfrm>
        </p:spPr>
        <p:txBody>
          <a:bodyPr/>
          <a:lstStyle>
            <a:defPPr>
              <a:defRPr lang="en-US"/>
            </a:defPPr>
            <a:lvl1pPr marL="0" algn="l" defTabSz="1042736" rtl="0" eaLnBrk="1" latinLnBrk="0" hangingPunct="1">
              <a:defRPr sz="2053" kern="1200">
                <a:solidFill>
                  <a:schemeClr val="tx1"/>
                </a:solidFill>
                <a:latin typeface="+mn-lt"/>
                <a:ea typeface="+mn-ea"/>
                <a:cs typeface="+mn-cs"/>
              </a:defRPr>
            </a:lvl1pPr>
            <a:lvl2pPr marL="521368" algn="l" defTabSz="1042736" rtl="0" eaLnBrk="1" latinLnBrk="0" hangingPunct="1">
              <a:defRPr sz="2053" kern="1200">
                <a:solidFill>
                  <a:schemeClr val="tx1"/>
                </a:solidFill>
                <a:latin typeface="+mn-lt"/>
                <a:ea typeface="+mn-ea"/>
                <a:cs typeface="+mn-cs"/>
              </a:defRPr>
            </a:lvl2pPr>
            <a:lvl3pPr marL="1042736" algn="l" defTabSz="1042736" rtl="0" eaLnBrk="1" latinLnBrk="0" hangingPunct="1">
              <a:defRPr sz="2053" kern="1200">
                <a:solidFill>
                  <a:schemeClr val="tx1"/>
                </a:solidFill>
                <a:latin typeface="+mn-lt"/>
                <a:ea typeface="+mn-ea"/>
                <a:cs typeface="+mn-cs"/>
              </a:defRPr>
            </a:lvl3pPr>
            <a:lvl4pPr marL="1564102" algn="l" defTabSz="1042736" rtl="0" eaLnBrk="1" latinLnBrk="0" hangingPunct="1">
              <a:defRPr sz="2053" kern="1200">
                <a:solidFill>
                  <a:schemeClr val="tx1"/>
                </a:solidFill>
                <a:latin typeface="+mn-lt"/>
                <a:ea typeface="+mn-ea"/>
                <a:cs typeface="+mn-cs"/>
              </a:defRPr>
            </a:lvl4pPr>
            <a:lvl5pPr marL="2085470" algn="l" defTabSz="1042736" rtl="0" eaLnBrk="1" latinLnBrk="0" hangingPunct="1">
              <a:defRPr sz="2053" kern="1200">
                <a:solidFill>
                  <a:schemeClr val="tx1"/>
                </a:solidFill>
                <a:latin typeface="+mn-lt"/>
                <a:ea typeface="+mn-ea"/>
                <a:cs typeface="+mn-cs"/>
              </a:defRPr>
            </a:lvl5pPr>
            <a:lvl6pPr marL="2606838" algn="l" defTabSz="1042736" rtl="0" eaLnBrk="1" latinLnBrk="0" hangingPunct="1">
              <a:defRPr sz="2053" kern="1200">
                <a:solidFill>
                  <a:schemeClr val="tx1"/>
                </a:solidFill>
                <a:latin typeface="+mn-lt"/>
                <a:ea typeface="+mn-ea"/>
                <a:cs typeface="+mn-cs"/>
              </a:defRPr>
            </a:lvl6pPr>
            <a:lvl7pPr marL="3128206" algn="l" defTabSz="1042736" rtl="0" eaLnBrk="1" latinLnBrk="0" hangingPunct="1">
              <a:defRPr sz="2053" kern="1200">
                <a:solidFill>
                  <a:schemeClr val="tx1"/>
                </a:solidFill>
                <a:latin typeface="+mn-lt"/>
                <a:ea typeface="+mn-ea"/>
                <a:cs typeface="+mn-cs"/>
              </a:defRPr>
            </a:lvl7pPr>
            <a:lvl8pPr marL="3649572" algn="l" defTabSz="1042736" rtl="0" eaLnBrk="1" latinLnBrk="0" hangingPunct="1">
              <a:defRPr sz="2053" kern="1200">
                <a:solidFill>
                  <a:schemeClr val="tx1"/>
                </a:solidFill>
                <a:latin typeface="+mn-lt"/>
                <a:ea typeface="+mn-ea"/>
                <a:cs typeface="+mn-cs"/>
              </a:defRPr>
            </a:lvl8pPr>
            <a:lvl9pPr marL="4170940" algn="l" defTabSz="1042736" rtl="0" eaLnBrk="1" latinLnBrk="0" hangingPunct="1">
              <a:defRPr sz="2053" kern="1200">
                <a:solidFill>
                  <a:schemeClr val="tx1"/>
                </a:solidFill>
                <a:latin typeface="+mn-lt"/>
                <a:ea typeface="+mn-ea"/>
                <a:cs typeface="+mn-cs"/>
              </a:defRPr>
            </a:lvl9pPr>
          </a:lstStyle>
          <a:p>
            <a:r>
              <a:rPr lang="en-US" dirty="0"/>
              <a:t>Wealth – James E Hughes</a:t>
            </a:r>
            <a:endParaRPr lang="en-AU" dirty="0"/>
          </a:p>
        </p:txBody>
      </p:sp>
      <p:pic>
        <p:nvPicPr>
          <p:cNvPr id="8" name="Picture 7">
            <a:extLst>
              <a:ext uri="{FF2B5EF4-FFF2-40B4-BE49-F238E27FC236}">
                <a16:creationId xmlns:a16="http://schemas.microsoft.com/office/drawing/2014/main" id="{08BE3E58-6122-3780-A434-5665CFFFFB65}"/>
              </a:ext>
            </a:extLst>
          </p:cNvPr>
          <p:cNvPicPr>
            <a:picLocks noChangeAspect="1"/>
          </p:cNvPicPr>
          <p:nvPr/>
        </p:nvPicPr>
        <p:blipFill>
          <a:blip r:embed="rId2"/>
          <a:stretch>
            <a:fillRect/>
          </a:stretch>
        </p:blipFill>
        <p:spPr>
          <a:xfrm>
            <a:off x="4465644" y="1464923"/>
            <a:ext cx="6053946" cy="5435443"/>
          </a:xfrm>
          <a:prstGeom prst="rect">
            <a:avLst/>
          </a:prstGeom>
        </p:spPr>
      </p:pic>
      <p:sp>
        <p:nvSpPr>
          <p:cNvPr id="2" name="Slide Number Placeholder 3">
            <a:extLst>
              <a:ext uri="{FF2B5EF4-FFF2-40B4-BE49-F238E27FC236}">
                <a16:creationId xmlns:a16="http://schemas.microsoft.com/office/drawing/2014/main" id="{BEBA9B29-2586-B96C-8E09-1F2FB9F5DCC8}"/>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28</a:t>
            </a:fld>
            <a:endParaRPr lang="en-AU" dirty="0"/>
          </a:p>
        </p:txBody>
      </p:sp>
    </p:spTree>
    <p:extLst>
      <p:ext uri="{BB962C8B-B14F-4D97-AF65-F5344CB8AC3E}">
        <p14:creationId xmlns:p14="http://schemas.microsoft.com/office/powerpoint/2010/main" val="4983758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ED7B3-59E5-4CBD-2C43-E2457CE0A520}"/>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A966C4BA-2CF0-59B8-A189-8D53BC2D26FB}"/>
              </a:ext>
            </a:extLst>
          </p:cNvPr>
          <p:cNvSpPr>
            <a:spLocks noGrp="1"/>
          </p:cNvSpPr>
          <p:nvPr>
            <p:ph type="title"/>
          </p:nvPr>
        </p:nvSpPr>
        <p:spPr>
          <a:xfrm>
            <a:off x="1426854" y="1743422"/>
            <a:ext cx="6381434" cy="321847"/>
          </a:xfrm>
        </p:spPr>
        <p:txBody>
          <a:bodyPr/>
          <a:lstStyle>
            <a:defPPr>
              <a:defRPr lang="en-US"/>
            </a:defPPr>
            <a:lvl1pPr marL="0" algn="l" defTabSz="1042736" rtl="0" eaLnBrk="1" latinLnBrk="0" hangingPunct="1">
              <a:defRPr sz="2053" kern="1200">
                <a:solidFill>
                  <a:schemeClr val="tx1"/>
                </a:solidFill>
                <a:latin typeface="+mn-lt"/>
                <a:ea typeface="+mn-ea"/>
                <a:cs typeface="+mn-cs"/>
              </a:defRPr>
            </a:lvl1pPr>
            <a:lvl2pPr marL="521368" algn="l" defTabSz="1042736" rtl="0" eaLnBrk="1" latinLnBrk="0" hangingPunct="1">
              <a:defRPr sz="2053" kern="1200">
                <a:solidFill>
                  <a:schemeClr val="tx1"/>
                </a:solidFill>
                <a:latin typeface="+mn-lt"/>
                <a:ea typeface="+mn-ea"/>
                <a:cs typeface="+mn-cs"/>
              </a:defRPr>
            </a:lvl2pPr>
            <a:lvl3pPr marL="1042736" algn="l" defTabSz="1042736" rtl="0" eaLnBrk="1" latinLnBrk="0" hangingPunct="1">
              <a:defRPr sz="2053" kern="1200">
                <a:solidFill>
                  <a:schemeClr val="tx1"/>
                </a:solidFill>
                <a:latin typeface="+mn-lt"/>
                <a:ea typeface="+mn-ea"/>
                <a:cs typeface="+mn-cs"/>
              </a:defRPr>
            </a:lvl3pPr>
            <a:lvl4pPr marL="1564102" algn="l" defTabSz="1042736" rtl="0" eaLnBrk="1" latinLnBrk="0" hangingPunct="1">
              <a:defRPr sz="2053" kern="1200">
                <a:solidFill>
                  <a:schemeClr val="tx1"/>
                </a:solidFill>
                <a:latin typeface="+mn-lt"/>
                <a:ea typeface="+mn-ea"/>
                <a:cs typeface="+mn-cs"/>
              </a:defRPr>
            </a:lvl4pPr>
            <a:lvl5pPr marL="2085470" algn="l" defTabSz="1042736" rtl="0" eaLnBrk="1" latinLnBrk="0" hangingPunct="1">
              <a:defRPr sz="2053" kern="1200">
                <a:solidFill>
                  <a:schemeClr val="tx1"/>
                </a:solidFill>
                <a:latin typeface="+mn-lt"/>
                <a:ea typeface="+mn-ea"/>
                <a:cs typeface="+mn-cs"/>
              </a:defRPr>
            </a:lvl5pPr>
            <a:lvl6pPr marL="2606838" algn="l" defTabSz="1042736" rtl="0" eaLnBrk="1" latinLnBrk="0" hangingPunct="1">
              <a:defRPr sz="2053" kern="1200">
                <a:solidFill>
                  <a:schemeClr val="tx1"/>
                </a:solidFill>
                <a:latin typeface="+mn-lt"/>
                <a:ea typeface="+mn-ea"/>
                <a:cs typeface="+mn-cs"/>
              </a:defRPr>
            </a:lvl6pPr>
            <a:lvl7pPr marL="3128206" algn="l" defTabSz="1042736" rtl="0" eaLnBrk="1" latinLnBrk="0" hangingPunct="1">
              <a:defRPr sz="2053" kern="1200">
                <a:solidFill>
                  <a:schemeClr val="tx1"/>
                </a:solidFill>
                <a:latin typeface="+mn-lt"/>
                <a:ea typeface="+mn-ea"/>
                <a:cs typeface="+mn-cs"/>
              </a:defRPr>
            </a:lvl7pPr>
            <a:lvl8pPr marL="3649572" algn="l" defTabSz="1042736" rtl="0" eaLnBrk="1" latinLnBrk="0" hangingPunct="1">
              <a:defRPr sz="2053" kern="1200">
                <a:solidFill>
                  <a:schemeClr val="tx1"/>
                </a:solidFill>
                <a:latin typeface="+mn-lt"/>
                <a:ea typeface="+mn-ea"/>
                <a:cs typeface="+mn-cs"/>
              </a:defRPr>
            </a:lvl8pPr>
            <a:lvl9pPr marL="4170940" algn="l" defTabSz="1042736" rtl="0" eaLnBrk="1" latinLnBrk="0" hangingPunct="1">
              <a:defRPr sz="2053" kern="1200">
                <a:solidFill>
                  <a:schemeClr val="tx1"/>
                </a:solidFill>
                <a:latin typeface="+mn-lt"/>
                <a:ea typeface="+mn-ea"/>
                <a:cs typeface="+mn-cs"/>
              </a:defRPr>
            </a:lvl9pPr>
          </a:lstStyle>
          <a:p>
            <a:r>
              <a:rPr lang="en-US" dirty="0"/>
              <a:t>True Wealth – Quantitative &amp; Qualitative</a:t>
            </a:r>
            <a:endParaRPr lang="en-AU" dirty="0"/>
          </a:p>
        </p:txBody>
      </p:sp>
      <p:sp>
        <p:nvSpPr>
          <p:cNvPr id="14" name="Freeform: Shape 13">
            <a:extLst>
              <a:ext uri="{FF2B5EF4-FFF2-40B4-BE49-F238E27FC236}">
                <a16:creationId xmlns:a16="http://schemas.microsoft.com/office/drawing/2014/main" id="{169AB28B-CB92-CD90-2184-B2ED1090CD5C}"/>
              </a:ext>
            </a:extLst>
          </p:cNvPr>
          <p:cNvSpPr/>
          <p:nvPr/>
        </p:nvSpPr>
        <p:spPr>
          <a:xfrm>
            <a:off x="2572844" y="2249559"/>
            <a:ext cx="2773857" cy="1867531"/>
          </a:xfrm>
          <a:custGeom>
            <a:avLst/>
            <a:gdLst>
              <a:gd name="connsiteX0" fmla="*/ 0 w 2269067"/>
              <a:gd name="connsiteY0" fmla="*/ 0 h 3370262"/>
              <a:gd name="connsiteX1" fmla="*/ 1890882 w 2269067"/>
              <a:gd name="connsiteY1" fmla="*/ 0 h 3370262"/>
              <a:gd name="connsiteX2" fmla="*/ 2269067 w 2269067"/>
              <a:gd name="connsiteY2" fmla="*/ 378185 h 3370262"/>
              <a:gd name="connsiteX3" fmla="*/ 2269067 w 2269067"/>
              <a:gd name="connsiteY3" fmla="*/ 3370262 h 3370262"/>
              <a:gd name="connsiteX4" fmla="*/ 0 w 2269067"/>
              <a:gd name="connsiteY4" fmla="*/ 3370262 h 3370262"/>
              <a:gd name="connsiteX5" fmla="*/ 0 w 2269067"/>
              <a:gd name="connsiteY5" fmla="*/ 0 h 337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9067" h="3370262">
                <a:moveTo>
                  <a:pt x="0" y="3370261"/>
                </a:moveTo>
                <a:lnTo>
                  <a:pt x="0" y="561721"/>
                </a:lnTo>
                <a:cubicBezTo>
                  <a:pt x="0" y="251491"/>
                  <a:pt x="113996" y="1"/>
                  <a:pt x="254618" y="1"/>
                </a:cubicBezTo>
                <a:lnTo>
                  <a:pt x="2269067" y="1"/>
                </a:lnTo>
                <a:lnTo>
                  <a:pt x="2269067" y="3370261"/>
                </a:lnTo>
                <a:lnTo>
                  <a:pt x="0" y="3370261"/>
                </a:lnTo>
                <a:close/>
              </a:path>
            </a:pathLst>
          </a:custGeom>
          <a:solidFill>
            <a:srgbClr val="DBD1C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58043" tIns="158042" rIns="158043" bIns="624927" numCol="1" spcCol="1270" anchor="ctr" anchorCtr="0">
            <a:noAutofit/>
          </a:bodyPr>
          <a:lstStyle>
            <a:defPPr>
              <a:defRPr lang="en-US"/>
            </a:defPPr>
            <a:lvl1pPr marL="0" algn="l" defTabSz="1042736" rtl="0" eaLnBrk="1" latinLnBrk="0" hangingPunct="1">
              <a:defRPr sz="2053" kern="1200">
                <a:solidFill>
                  <a:schemeClr val="tx1"/>
                </a:solidFill>
                <a:latin typeface="+mn-lt"/>
                <a:ea typeface="+mn-ea"/>
                <a:cs typeface="+mn-cs"/>
              </a:defRPr>
            </a:lvl1pPr>
            <a:lvl2pPr marL="521368" algn="l" defTabSz="1042736" rtl="0" eaLnBrk="1" latinLnBrk="0" hangingPunct="1">
              <a:defRPr sz="2053" kern="1200">
                <a:solidFill>
                  <a:schemeClr val="tx1"/>
                </a:solidFill>
                <a:latin typeface="+mn-lt"/>
                <a:ea typeface="+mn-ea"/>
                <a:cs typeface="+mn-cs"/>
              </a:defRPr>
            </a:lvl2pPr>
            <a:lvl3pPr marL="1042736" algn="l" defTabSz="1042736" rtl="0" eaLnBrk="1" latinLnBrk="0" hangingPunct="1">
              <a:defRPr sz="2053" kern="1200">
                <a:solidFill>
                  <a:schemeClr val="tx1"/>
                </a:solidFill>
                <a:latin typeface="+mn-lt"/>
                <a:ea typeface="+mn-ea"/>
                <a:cs typeface="+mn-cs"/>
              </a:defRPr>
            </a:lvl3pPr>
            <a:lvl4pPr marL="1564102" algn="l" defTabSz="1042736" rtl="0" eaLnBrk="1" latinLnBrk="0" hangingPunct="1">
              <a:defRPr sz="2053" kern="1200">
                <a:solidFill>
                  <a:schemeClr val="tx1"/>
                </a:solidFill>
                <a:latin typeface="+mn-lt"/>
                <a:ea typeface="+mn-ea"/>
                <a:cs typeface="+mn-cs"/>
              </a:defRPr>
            </a:lvl4pPr>
            <a:lvl5pPr marL="2085470" algn="l" defTabSz="1042736" rtl="0" eaLnBrk="1" latinLnBrk="0" hangingPunct="1">
              <a:defRPr sz="2053" kern="1200">
                <a:solidFill>
                  <a:schemeClr val="tx1"/>
                </a:solidFill>
                <a:latin typeface="+mn-lt"/>
                <a:ea typeface="+mn-ea"/>
                <a:cs typeface="+mn-cs"/>
              </a:defRPr>
            </a:lvl5pPr>
            <a:lvl6pPr marL="2606838" algn="l" defTabSz="1042736" rtl="0" eaLnBrk="1" latinLnBrk="0" hangingPunct="1">
              <a:defRPr sz="2053" kern="1200">
                <a:solidFill>
                  <a:schemeClr val="tx1"/>
                </a:solidFill>
                <a:latin typeface="+mn-lt"/>
                <a:ea typeface="+mn-ea"/>
                <a:cs typeface="+mn-cs"/>
              </a:defRPr>
            </a:lvl6pPr>
            <a:lvl7pPr marL="3128206" algn="l" defTabSz="1042736" rtl="0" eaLnBrk="1" latinLnBrk="0" hangingPunct="1">
              <a:defRPr sz="2053" kern="1200">
                <a:solidFill>
                  <a:schemeClr val="tx1"/>
                </a:solidFill>
                <a:latin typeface="+mn-lt"/>
                <a:ea typeface="+mn-ea"/>
                <a:cs typeface="+mn-cs"/>
              </a:defRPr>
            </a:lvl7pPr>
            <a:lvl8pPr marL="3649572" algn="l" defTabSz="1042736" rtl="0" eaLnBrk="1" latinLnBrk="0" hangingPunct="1">
              <a:defRPr sz="2053" kern="1200">
                <a:solidFill>
                  <a:schemeClr val="tx1"/>
                </a:solidFill>
                <a:latin typeface="+mn-lt"/>
                <a:ea typeface="+mn-ea"/>
                <a:cs typeface="+mn-cs"/>
              </a:defRPr>
            </a:lvl8pPr>
            <a:lvl9pPr marL="4170940" algn="l" defTabSz="1042736" rtl="0" eaLnBrk="1" latinLnBrk="0" hangingPunct="1">
              <a:defRPr sz="2053" kern="1200">
                <a:solidFill>
                  <a:schemeClr val="tx1"/>
                </a:solidFill>
                <a:latin typeface="+mn-lt"/>
                <a:ea typeface="+mn-ea"/>
                <a:cs typeface="+mn-cs"/>
              </a:defRPr>
            </a:lvl9pPr>
          </a:lstStyle>
          <a:p>
            <a:pPr algn="ctr" defTabSz="987703">
              <a:lnSpc>
                <a:spcPct val="90000"/>
              </a:lnSpc>
              <a:spcBef>
                <a:spcPct val="0"/>
              </a:spcBef>
              <a:spcAft>
                <a:spcPct val="35000"/>
              </a:spcAft>
            </a:pPr>
            <a:endParaRPr lang="en-AU" sz="2222" dirty="0"/>
          </a:p>
          <a:p>
            <a:pPr algn="ctr" defTabSz="987703">
              <a:lnSpc>
                <a:spcPct val="90000"/>
              </a:lnSpc>
              <a:spcBef>
                <a:spcPct val="0"/>
              </a:spcBef>
              <a:spcAft>
                <a:spcPct val="35000"/>
              </a:spcAft>
            </a:pPr>
            <a:r>
              <a:rPr lang="en-AU" sz="2222" dirty="0">
                <a:solidFill>
                  <a:srgbClr val="2E3842"/>
                </a:solidFill>
              </a:rPr>
              <a:t>Spiritual</a:t>
            </a:r>
          </a:p>
          <a:p>
            <a:pPr algn="ctr" defTabSz="987703">
              <a:lnSpc>
                <a:spcPct val="90000"/>
              </a:lnSpc>
              <a:spcBef>
                <a:spcPct val="0"/>
              </a:spcBef>
              <a:spcAft>
                <a:spcPct val="35000"/>
              </a:spcAft>
            </a:pPr>
            <a:r>
              <a:rPr lang="en-AU" sz="1399" dirty="0">
                <a:solidFill>
                  <a:srgbClr val="2E3842"/>
                </a:solidFill>
              </a:rPr>
              <a:t>Purpose</a:t>
            </a:r>
          </a:p>
          <a:p>
            <a:pPr algn="ctr" defTabSz="987703">
              <a:lnSpc>
                <a:spcPct val="90000"/>
              </a:lnSpc>
              <a:spcBef>
                <a:spcPct val="0"/>
              </a:spcBef>
              <a:spcAft>
                <a:spcPct val="35000"/>
              </a:spcAft>
            </a:pPr>
            <a:r>
              <a:rPr lang="en-AU" sz="1399" dirty="0">
                <a:solidFill>
                  <a:srgbClr val="2E3842"/>
                </a:solidFill>
              </a:rPr>
              <a:t>The ‘WHY’</a:t>
            </a:r>
          </a:p>
        </p:txBody>
      </p:sp>
      <p:sp>
        <p:nvSpPr>
          <p:cNvPr id="15" name="Freeform: Shape 14">
            <a:extLst>
              <a:ext uri="{FF2B5EF4-FFF2-40B4-BE49-F238E27FC236}">
                <a16:creationId xmlns:a16="http://schemas.microsoft.com/office/drawing/2014/main" id="{E9227D06-D561-9355-E399-8FC06ADF6C5B}"/>
              </a:ext>
            </a:extLst>
          </p:cNvPr>
          <p:cNvSpPr/>
          <p:nvPr/>
        </p:nvSpPr>
        <p:spPr>
          <a:xfrm>
            <a:off x="5346700" y="2249559"/>
            <a:ext cx="2773857" cy="1867530"/>
          </a:xfrm>
          <a:custGeom>
            <a:avLst/>
            <a:gdLst>
              <a:gd name="connsiteX0" fmla="*/ 0 w 3370262"/>
              <a:gd name="connsiteY0" fmla="*/ 0 h 2269067"/>
              <a:gd name="connsiteX1" fmla="*/ 2992077 w 3370262"/>
              <a:gd name="connsiteY1" fmla="*/ 0 h 2269067"/>
              <a:gd name="connsiteX2" fmla="*/ 3370262 w 3370262"/>
              <a:gd name="connsiteY2" fmla="*/ 378185 h 2269067"/>
              <a:gd name="connsiteX3" fmla="*/ 3370262 w 3370262"/>
              <a:gd name="connsiteY3" fmla="*/ 2269067 h 2269067"/>
              <a:gd name="connsiteX4" fmla="*/ 0 w 3370262"/>
              <a:gd name="connsiteY4" fmla="*/ 2269067 h 2269067"/>
              <a:gd name="connsiteX5" fmla="*/ 0 w 3370262"/>
              <a:gd name="connsiteY5" fmla="*/ 0 h 226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0262" h="2269067">
                <a:moveTo>
                  <a:pt x="0" y="0"/>
                </a:moveTo>
                <a:lnTo>
                  <a:pt x="2992077" y="0"/>
                </a:lnTo>
                <a:cubicBezTo>
                  <a:pt x="3200943" y="0"/>
                  <a:pt x="3370262" y="169319"/>
                  <a:pt x="3370262" y="378185"/>
                </a:cubicBezTo>
                <a:lnTo>
                  <a:pt x="3370262" y="2269067"/>
                </a:lnTo>
                <a:lnTo>
                  <a:pt x="0" y="2269067"/>
                </a:lnTo>
                <a:lnTo>
                  <a:pt x="0" y="0"/>
                </a:lnTo>
                <a:close/>
              </a:path>
            </a:pathLst>
          </a:custGeom>
          <a:solidFill>
            <a:srgbClr val="B681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58043" tIns="158043" rIns="158043" bIns="624926" numCol="1" spcCol="1270" anchor="ctr" anchorCtr="0">
            <a:noAutofit/>
          </a:bodyPr>
          <a:lstStyle>
            <a:defPPr>
              <a:defRPr lang="en-US"/>
            </a:defPPr>
            <a:lvl1pPr marL="0" algn="l" defTabSz="1042736" rtl="0" eaLnBrk="1" latinLnBrk="0" hangingPunct="1">
              <a:defRPr sz="2053" kern="1200">
                <a:solidFill>
                  <a:schemeClr val="tx1"/>
                </a:solidFill>
                <a:latin typeface="+mn-lt"/>
                <a:ea typeface="+mn-ea"/>
                <a:cs typeface="+mn-cs"/>
              </a:defRPr>
            </a:lvl1pPr>
            <a:lvl2pPr marL="521368" algn="l" defTabSz="1042736" rtl="0" eaLnBrk="1" latinLnBrk="0" hangingPunct="1">
              <a:defRPr sz="2053" kern="1200">
                <a:solidFill>
                  <a:schemeClr val="tx1"/>
                </a:solidFill>
                <a:latin typeface="+mn-lt"/>
                <a:ea typeface="+mn-ea"/>
                <a:cs typeface="+mn-cs"/>
              </a:defRPr>
            </a:lvl2pPr>
            <a:lvl3pPr marL="1042736" algn="l" defTabSz="1042736" rtl="0" eaLnBrk="1" latinLnBrk="0" hangingPunct="1">
              <a:defRPr sz="2053" kern="1200">
                <a:solidFill>
                  <a:schemeClr val="tx1"/>
                </a:solidFill>
                <a:latin typeface="+mn-lt"/>
                <a:ea typeface="+mn-ea"/>
                <a:cs typeface="+mn-cs"/>
              </a:defRPr>
            </a:lvl3pPr>
            <a:lvl4pPr marL="1564102" algn="l" defTabSz="1042736" rtl="0" eaLnBrk="1" latinLnBrk="0" hangingPunct="1">
              <a:defRPr sz="2053" kern="1200">
                <a:solidFill>
                  <a:schemeClr val="tx1"/>
                </a:solidFill>
                <a:latin typeface="+mn-lt"/>
                <a:ea typeface="+mn-ea"/>
                <a:cs typeface="+mn-cs"/>
              </a:defRPr>
            </a:lvl4pPr>
            <a:lvl5pPr marL="2085470" algn="l" defTabSz="1042736" rtl="0" eaLnBrk="1" latinLnBrk="0" hangingPunct="1">
              <a:defRPr sz="2053" kern="1200">
                <a:solidFill>
                  <a:schemeClr val="tx1"/>
                </a:solidFill>
                <a:latin typeface="+mn-lt"/>
                <a:ea typeface="+mn-ea"/>
                <a:cs typeface="+mn-cs"/>
              </a:defRPr>
            </a:lvl5pPr>
            <a:lvl6pPr marL="2606838" algn="l" defTabSz="1042736" rtl="0" eaLnBrk="1" latinLnBrk="0" hangingPunct="1">
              <a:defRPr sz="2053" kern="1200">
                <a:solidFill>
                  <a:schemeClr val="tx1"/>
                </a:solidFill>
                <a:latin typeface="+mn-lt"/>
                <a:ea typeface="+mn-ea"/>
                <a:cs typeface="+mn-cs"/>
              </a:defRPr>
            </a:lvl6pPr>
            <a:lvl7pPr marL="3128206" algn="l" defTabSz="1042736" rtl="0" eaLnBrk="1" latinLnBrk="0" hangingPunct="1">
              <a:defRPr sz="2053" kern="1200">
                <a:solidFill>
                  <a:schemeClr val="tx1"/>
                </a:solidFill>
                <a:latin typeface="+mn-lt"/>
                <a:ea typeface="+mn-ea"/>
                <a:cs typeface="+mn-cs"/>
              </a:defRPr>
            </a:lvl7pPr>
            <a:lvl8pPr marL="3649572" algn="l" defTabSz="1042736" rtl="0" eaLnBrk="1" latinLnBrk="0" hangingPunct="1">
              <a:defRPr sz="2053" kern="1200">
                <a:solidFill>
                  <a:schemeClr val="tx1"/>
                </a:solidFill>
                <a:latin typeface="+mn-lt"/>
                <a:ea typeface="+mn-ea"/>
                <a:cs typeface="+mn-cs"/>
              </a:defRPr>
            </a:lvl8pPr>
            <a:lvl9pPr marL="4170940" algn="l" defTabSz="1042736" rtl="0" eaLnBrk="1" latinLnBrk="0" hangingPunct="1">
              <a:defRPr sz="2053" kern="1200">
                <a:solidFill>
                  <a:schemeClr val="tx1"/>
                </a:solidFill>
                <a:latin typeface="+mn-lt"/>
                <a:ea typeface="+mn-ea"/>
                <a:cs typeface="+mn-cs"/>
              </a:defRPr>
            </a:lvl9pPr>
          </a:lstStyle>
          <a:p>
            <a:pPr algn="ctr" defTabSz="987703">
              <a:lnSpc>
                <a:spcPct val="90000"/>
              </a:lnSpc>
              <a:spcBef>
                <a:spcPct val="0"/>
              </a:spcBef>
              <a:spcAft>
                <a:spcPct val="35000"/>
              </a:spcAft>
            </a:pPr>
            <a:endParaRPr lang="en-AU" sz="2222" dirty="0"/>
          </a:p>
          <a:p>
            <a:pPr algn="ctr" defTabSz="987703">
              <a:lnSpc>
                <a:spcPct val="90000"/>
              </a:lnSpc>
              <a:spcBef>
                <a:spcPct val="0"/>
              </a:spcBef>
              <a:spcAft>
                <a:spcPct val="35000"/>
              </a:spcAft>
            </a:pPr>
            <a:r>
              <a:rPr lang="en-AU" sz="2222" dirty="0">
                <a:solidFill>
                  <a:srgbClr val="2E3842"/>
                </a:solidFill>
              </a:rPr>
              <a:t>Intellectual</a:t>
            </a:r>
          </a:p>
          <a:p>
            <a:pPr algn="ctr" defTabSz="987703">
              <a:lnSpc>
                <a:spcPct val="90000"/>
              </a:lnSpc>
              <a:spcBef>
                <a:spcPct val="0"/>
              </a:spcBef>
              <a:spcAft>
                <a:spcPct val="35000"/>
              </a:spcAft>
            </a:pPr>
            <a:r>
              <a:rPr lang="en-AU" sz="1399" dirty="0">
                <a:solidFill>
                  <a:srgbClr val="2E3842"/>
                </a:solidFill>
              </a:rPr>
              <a:t>Learning, Sharing &amp; Teaching</a:t>
            </a:r>
          </a:p>
        </p:txBody>
      </p:sp>
      <p:sp>
        <p:nvSpPr>
          <p:cNvPr id="16" name="Freeform: Shape 15">
            <a:extLst>
              <a:ext uri="{FF2B5EF4-FFF2-40B4-BE49-F238E27FC236}">
                <a16:creationId xmlns:a16="http://schemas.microsoft.com/office/drawing/2014/main" id="{8C10962C-8472-B17C-4537-7216FC825CAA}"/>
              </a:ext>
            </a:extLst>
          </p:cNvPr>
          <p:cNvSpPr/>
          <p:nvPr/>
        </p:nvSpPr>
        <p:spPr>
          <a:xfrm>
            <a:off x="2572844" y="4117090"/>
            <a:ext cx="2773857" cy="1867530"/>
          </a:xfrm>
          <a:custGeom>
            <a:avLst/>
            <a:gdLst>
              <a:gd name="connsiteX0" fmla="*/ 0 w 3370262"/>
              <a:gd name="connsiteY0" fmla="*/ 0 h 2269067"/>
              <a:gd name="connsiteX1" fmla="*/ 2992077 w 3370262"/>
              <a:gd name="connsiteY1" fmla="*/ 0 h 2269067"/>
              <a:gd name="connsiteX2" fmla="*/ 3370262 w 3370262"/>
              <a:gd name="connsiteY2" fmla="*/ 378185 h 2269067"/>
              <a:gd name="connsiteX3" fmla="*/ 3370262 w 3370262"/>
              <a:gd name="connsiteY3" fmla="*/ 2269067 h 2269067"/>
              <a:gd name="connsiteX4" fmla="*/ 0 w 3370262"/>
              <a:gd name="connsiteY4" fmla="*/ 2269067 h 2269067"/>
              <a:gd name="connsiteX5" fmla="*/ 0 w 3370262"/>
              <a:gd name="connsiteY5" fmla="*/ 0 h 226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0262" h="2269067">
                <a:moveTo>
                  <a:pt x="3370262" y="2269067"/>
                </a:moveTo>
                <a:lnTo>
                  <a:pt x="378185" y="2269067"/>
                </a:lnTo>
                <a:cubicBezTo>
                  <a:pt x="169319" y="2269067"/>
                  <a:pt x="0" y="2099748"/>
                  <a:pt x="0" y="1890882"/>
                </a:cubicBezTo>
                <a:lnTo>
                  <a:pt x="0" y="0"/>
                </a:lnTo>
                <a:lnTo>
                  <a:pt x="3370262" y="0"/>
                </a:lnTo>
                <a:lnTo>
                  <a:pt x="3370262" y="2269067"/>
                </a:lnTo>
                <a:close/>
              </a:path>
            </a:pathLst>
          </a:custGeom>
          <a:solidFill>
            <a:srgbClr val="AFC1D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58043" tIns="624926" rIns="158043" bIns="158044" numCol="1" spcCol="1270" anchor="ctr" anchorCtr="0">
            <a:noAutofit/>
          </a:bodyPr>
          <a:lstStyle>
            <a:defPPr>
              <a:defRPr lang="en-US"/>
            </a:defPPr>
            <a:lvl1pPr marL="0" algn="l" defTabSz="1042736" rtl="0" eaLnBrk="1" latinLnBrk="0" hangingPunct="1">
              <a:defRPr sz="2053" kern="1200">
                <a:solidFill>
                  <a:schemeClr val="tx1"/>
                </a:solidFill>
                <a:latin typeface="+mn-lt"/>
                <a:ea typeface="+mn-ea"/>
                <a:cs typeface="+mn-cs"/>
              </a:defRPr>
            </a:lvl1pPr>
            <a:lvl2pPr marL="521368" algn="l" defTabSz="1042736" rtl="0" eaLnBrk="1" latinLnBrk="0" hangingPunct="1">
              <a:defRPr sz="2053" kern="1200">
                <a:solidFill>
                  <a:schemeClr val="tx1"/>
                </a:solidFill>
                <a:latin typeface="+mn-lt"/>
                <a:ea typeface="+mn-ea"/>
                <a:cs typeface="+mn-cs"/>
              </a:defRPr>
            </a:lvl2pPr>
            <a:lvl3pPr marL="1042736" algn="l" defTabSz="1042736" rtl="0" eaLnBrk="1" latinLnBrk="0" hangingPunct="1">
              <a:defRPr sz="2053" kern="1200">
                <a:solidFill>
                  <a:schemeClr val="tx1"/>
                </a:solidFill>
                <a:latin typeface="+mn-lt"/>
                <a:ea typeface="+mn-ea"/>
                <a:cs typeface="+mn-cs"/>
              </a:defRPr>
            </a:lvl3pPr>
            <a:lvl4pPr marL="1564102" algn="l" defTabSz="1042736" rtl="0" eaLnBrk="1" latinLnBrk="0" hangingPunct="1">
              <a:defRPr sz="2053" kern="1200">
                <a:solidFill>
                  <a:schemeClr val="tx1"/>
                </a:solidFill>
                <a:latin typeface="+mn-lt"/>
                <a:ea typeface="+mn-ea"/>
                <a:cs typeface="+mn-cs"/>
              </a:defRPr>
            </a:lvl4pPr>
            <a:lvl5pPr marL="2085470" algn="l" defTabSz="1042736" rtl="0" eaLnBrk="1" latinLnBrk="0" hangingPunct="1">
              <a:defRPr sz="2053" kern="1200">
                <a:solidFill>
                  <a:schemeClr val="tx1"/>
                </a:solidFill>
                <a:latin typeface="+mn-lt"/>
                <a:ea typeface="+mn-ea"/>
                <a:cs typeface="+mn-cs"/>
              </a:defRPr>
            </a:lvl5pPr>
            <a:lvl6pPr marL="2606838" algn="l" defTabSz="1042736" rtl="0" eaLnBrk="1" latinLnBrk="0" hangingPunct="1">
              <a:defRPr sz="2053" kern="1200">
                <a:solidFill>
                  <a:schemeClr val="tx1"/>
                </a:solidFill>
                <a:latin typeface="+mn-lt"/>
                <a:ea typeface="+mn-ea"/>
                <a:cs typeface="+mn-cs"/>
              </a:defRPr>
            </a:lvl6pPr>
            <a:lvl7pPr marL="3128206" algn="l" defTabSz="1042736" rtl="0" eaLnBrk="1" latinLnBrk="0" hangingPunct="1">
              <a:defRPr sz="2053" kern="1200">
                <a:solidFill>
                  <a:schemeClr val="tx1"/>
                </a:solidFill>
                <a:latin typeface="+mn-lt"/>
                <a:ea typeface="+mn-ea"/>
                <a:cs typeface="+mn-cs"/>
              </a:defRPr>
            </a:lvl7pPr>
            <a:lvl8pPr marL="3649572" algn="l" defTabSz="1042736" rtl="0" eaLnBrk="1" latinLnBrk="0" hangingPunct="1">
              <a:defRPr sz="2053" kern="1200">
                <a:solidFill>
                  <a:schemeClr val="tx1"/>
                </a:solidFill>
                <a:latin typeface="+mn-lt"/>
                <a:ea typeface="+mn-ea"/>
                <a:cs typeface="+mn-cs"/>
              </a:defRPr>
            </a:lvl8pPr>
            <a:lvl9pPr marL="4170940" algn="l" defTabSz="1042736" rtl="0" eaLnBrk="1" latinLnBrk="0" hangingPunct="1">
              <a:defRPr sz="2053" kern="1200">
                <a:solidFill>
                  <a:schemeClr val="tx1"/>
                </a:solidFill>
                <a:latin typeface="+mn-lt"/>
                <a:ea typeface="+mn-ea"/>
                <a:cs typeface="+mn-cs"/>
              </a:defRPr>
            </a:lvl9pPr>
          </a:lstStyle>
          <a:p>
            <a:pPr algn="ctr" defTabSz="987703">
              <a:lnSpc>
                <a:spcPct val="90000"/>
              </a:lnSpc>
              <a:spcBef>
                <a:spcPct val="0"/>
              </a:spcBef>
              <a:spcAft>
                <a:spcPct val="35000"/>
              </a:spcAft>
            </a:pPr>
            <a:r>
              <a:rPr lang="en-AU" sz="2222" dirty="0">
                <a:solidFill>
                  <a:srgbClr val="2E3842"/>
                </a:solidFill>
              </a:rPr>
              <a:t>Social</a:t>
            </a:r>
          </a:p>
          <a:p>
            <a:pPr algn="ctr" defTabSz="987703">
              <a:lnSpc>
                <a:spcPct val="90000"/>
              </a:lnSpc>
              <a:spcBef>
                <a:spcPct val="0"/>
              </a:spcBef>
              <a:spcAft>
                <a:spcPct val="35000"/>
              </a:spcAft>
            </a:pPr>
            <a:r>
              <a:rPr lang="en-AU" sz="1399" dirty="0">
                <a:solidFill>
                  <a:srgbClr val="2E3842"/>
                </a:solidFill>
              </a:rPr>
              <a:t>Relationships within the community/family</a:t>
            </a:r>
          </a:p>
        </p:txBody>
      </p:sp>
      <p:sp>
        <p:nvSpPr>
          <p:cNvPr id="17" name="Freeform: Shape 16">
            <a:extLst>
              <a:ext uri="{FF2B5EF4-FFF2-40B4-BE49-F238E27FC236}">
                <a16:creationId xmlns:a16="http://schemas.microsoft.com/office/drawing/2014/main" id="{1BAAF0DD-CAC3-07D5-8D6E-9F121F787305}"/>
              </a:ext>
            </a:extLst>
          </p:cNvPr>
          <p:cNvSpPr/>
          <p:nvPr/>
        </p:nvSpPr>
        <p:spPr>
          <a:xfrm>
            <a:off x="5346701" y="4117088"/>
            <a:ext cx="2773857" cy="1867531"/>
          </a:xfrm>
          <a:custGeom>
            <a:avLst/>
            <a:gdLst>
              <a:gd name="connsiteX0" fmla="*/ 0 w 2269067"/>
              <a:gd name="connsiteY0" fmla="*/ 0 h 3370262"/>
              <a:gd name="connsiteX1" fmla="*/ 1890882 w 2269067"/>
              <a:gd name="connsiteY1" fmla="*/ 0 h 3370262"/>
              <a:gd name="connsiteX2" fmla="*/ 2269067 w 2269067"/>
              <a:gd name="connsiteY2" fmla="*/ 378185 h 3370262"/>
              <a:gd name="connsiteX3" fmla="*/ 2269067 w 2269067"/>
              <a:gd name="connsiteY3" fmla="*/ 3370262 h 3370262"/>
              <a:gd name="connsiteX4" fmla="*/ 0 w 2269067"/>
              <a:gd name="connsiteY4" fmla="*/ 3370262 h 3370262"/>
              <a:gd name="connsiteX5" fmla="*/ 0 w 2269067"/>
              <a:gd name="connsiteY5" fmla="*/ 0 h 337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9067" h="3370262">
                <a:moveTo>
                  <a:pt x="2269067" y="1"/>
                </a:moveTo>
                <a:lnTo>
                  <a:pt x="2269067" y="2808541"/>
                </a:lnTo>
                <a:cubicBezTo>
                  <a:pt x="2269067" y="3118771"/>
                  <a:pt x="2155071" y="3370261"/>
                  <a:pt x="2014449" y="3370261"/>
                </a:cubicBezTo>
                <a:lnTo>
                  <a:pt x="0" y="3370261"/>
                </a:lnTo>
                <a:lnTo>
                  <a:pt x="0" y="1"/>
                </a:lnTo>
                <a:lnTo>
                  <a:pt x="2269067" y="1"/>
                </a:lnTo>
                <a:close/>
              </a:path>
            </a:pathLst>
          </a:custGeom>
          <a:solidFill>
            <a:srgbClr val="C6D7D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58043" tIns="624926" rIns="158044" bIns="158044" numCol="1" spcCol="1270" anchor="ctr" anchorCtr="0">
            <a:noAutofit/>
          </a:bodyPr>
          <a:lstStyle>
            <a:defPPr>
              <a:defRPr lang="en-US"/>
            </a:defPPr>
            <a:lvl1pPr marL="0" algn="l" defTabSz="1042736" rtl="0" eaLnBrk="1" latinLnBrk="0" hangingPunct="1">
              <a:defRPr sz="2053" kern="1200">
                <a:solidFill>
                  <a:schemeClr val="tx1"/>
                </a:solidFill>
                <a:latin typeface="+mn-lt"/>
                <a:ea typeface="+mn-ea"/>
                <a:cs typeface="+mn-cs"/>
              </a:defRPr>
            </a:lvl1pPr>
            <a:lvl2pPr marL="521368" algn="l" defTabSz="1042736" rtl="0" eaLnBrk="1" latinLnBrk="0" hangingPunct="1">
              <a:defRPr sz="2053" kern="1200">
                <a:solidFill>
                  <a:schemeClr val="tx1"/>
                </a:solidFill>
                <a:latin typeface="+mn-lt"/>
                <a:ea typeface="+mn-ea"/>
                <a:cs typeface="+mn-cs"/>
              </a:defRPr>
            </a:lvl2pPr>
            <a:lvl3pPr marL="1042736" algn="l" defTabSz="1042736" rtl="0" eaLnBrk="1" latinLnBrk="0" hangingPunct="1">
              <a:defRPr sz="2053" kern="1200">
                <a:solidFill>
                  <a:schemeClr val="tx1"/>
                </a:solidFill>
                <a:latin typeface="+mn-lt"/>
                <a:ea typeface="+mn-ea"/>
                <a:cs typeface="+mn-cs"/>
              </a:defRPr>
            </a:lvl3pPr>
            <a:lvl4pPr marL="1564102" algn="l" defTabSz="1042736" rtl="0" eaLnBrk="1" latinLnBrk="0" hangingPunct="1">
              <a:defRPr sz="2053" kern="1200">
                <a:solidFill>
                  <a:schemeClr val="tx1"/>
                </a:solidFill>
                <a:latin typeface="+mn-lt"/>
                <a:ea typeface="+mn-ea"/>
                <a:cs typeface="+mn-cs"/>
              </a:defRPr>
            </a:lvl4pPr>
            <a:lvl5pPr marL="2085470" algn="l" defTabSz="1042736" rtl="0" eaLnBrk="1" latinLnBrk="0" hangingPunct="1">
              <a:defRPr sz="2053" kern="1200">
                <a:solidFill>
                  <a:schemeClr val="tx1"/>
                </a:solidFill>
                <a:latin typeface="+mn-lt"/>
                <a:ea typeface="+mn-ea"/>
                <a:cs typeface="+mn-cs"/>
              </a:defRPr>
            </a:lvl5pPr>
            <a:lvl6pPr marL="2606838" algn="l" defTabSz="1042736" rtl="0" eaLnBrk="1" latinLnBrk="0" hangingPunct="1">
              <a:defRPr sz="2053" kern="1200">
                <a:solidFill>
                  <a:schemeClr val="tx1"/>
                </a:solidFill>
                <a:latin typeface="+mn-lt"/>
                <a:ea typeface="+mn-ea"/>
                <a:cs typeface="+mn-cs"/>
              </a:defRPr>
            </a:lvl6pPr>
            <a:lvl7pPr marL="3128206" algn="l" defTabSz="1042736" rtl="0" eaLnBrk="1" latinLnBrk="0" hangingPunct="1">
              <a:defRPr sz="2053" kern="1200">
                <a:solidFill>
                  <a:schemeClr val="tx1"/>
                </a:solidFill>
                <a:latin typeface="+mn-lt"/>
                <a:ea typeface="+mn-ea"/>
                <a:cs typeface="+mn-cs"/>
              </a:defRPr>
            </a:lvl7pPr>
            <a:lvl8pPr marL="3649572" algn="l" defTabSz="1042736" rtl="0" eaLnBrk="1" latinLnBrk="0" hangingPunct="1">
              <a:defRPr sz="2053" kern="1200">
                <a:solidFill>
                  <a:schemeClr val="tx1"/>
                </a:solidFill>
                <a:latin typeface="+mn-lt"/>
                <a:ea typeface="+mn-ea"/>
                <a:cs typeface="+mn-cs"/>
              </a:defRPr>
            </a:lvl8pPr>
            <a:lvl9pPr marL="4170940" algn="l" defTabSz="1042736" rtl="0" eaLnBrk="1" latinLnBrk="0" hangingPunct="1">
              <a:defRPr sz="2053" kern="1200">
                <a:solidFill>
                  <a:schemeClr val="tx1"/>
                </a:solidFill>
                <a:latin typeface="+mn-lt"/>
                <a:ea typeface="+mn-ea"/>
                <a:cs typeface="+mn-cs"/>
              </a:defRPr>
            </a:lvl9pPr>
          </a:lstStyle>
          <a:p>
            <a:pPr algn="ctr" defTabSz="987703">
              <a:lnSpc>
                <a:spcPct val="90000"/>
              </a:lnSpc>
              <a:spcBef>
                <a:spcPct val="0"/>
              </a:spcBef>
              <a:spcAft>
                <a:spcPct val="35000"/>
              </a:spcAft>
            </a:pPr>
            <a:r>
              <a:rPr lang="en-AU" sz="2222" dirty="0">
                <a:solidFill>
                  <a:srgbClr val="2E3842"/>
                </a:solidFill>
              </a:rPr>
              <a:t>Human</a:t>
            </a:r>
          </a:p>
          <a:p>
            <a:pPr algn="ctr" defTabSz="987703">
              <a:lnSpc>
                <a:spcPct val="90000"/>
              </a:lnSpc>
              <a:spcBef>
                <a:spcPct val="0"/>
              </a:spcBef>
              <a:spcAft>
                <a:spcPct val="35000"/>
              </a:spcAft>
            </a:pPr>
            <a:r>
              <a:rPr lang="en-AU" sz="1481" dirty="0">
                <a:solidFill>
                  <a:srgbClr val="2E3842"/>
                </a:solidFill>
              </a:rPr>
              <a:t>Physical &amp; Emotional Wellbeing</a:t>
            </a:r>
          </a:p>
        </p:txBody>
      </p:sp>
      <p:sp>
        <p:nvSpPr>
          <p:cNvPr id="18" name="Freeform: Shape 17">
            <a:extLst>
              <a:ext uri="{FF2B5EF4-FFF2-40B4-BE49-F238E27FC236}">
                <a16:creationId xmlns:a16="http://schemas.microsoft.com/office/drawing/2014/main" id="{B2A77A12-AE67-C204-B042-29B9D84FD031}"/>
              </a:ext>
            </a:extLst>
          </p:cNvPr>
          <p:cNvSpPr/>
          <p:nvPr/>
        </p:nvSpPr>
        <p:spPr>
          <a:xfrm>
            <a:off x="4514542" y="3658050"/>
            <a:ext cx="1664314" cy="933765"/>
          </a:xfrm>
          <a:custGeom>
            <a:avLst/>
            <a:gdLst>
              <a:gd name="connsiteX0" fmla="*/ 0 w 2022157"/>
              <a:gd name="connsiteY0" fmla="*/ 189093 h 1134533"/>
              <a:gd name="connsiteX1" fmla="*/ 189093 w 2022157"/>
              <a:gd name="connsiteY1" fmla="*/ 0 h 1134533"/>
              <a:gd name="connsiteX2" fmla="*/ 1833064 w 2022157"/>
              <a:gd name="connsiteY2" fmla="*/ 0 h 1134533"/>
              <a:gd name="connsiteX3" fmla="*/ 2022157 w 2022157"/>
              <a:gd name="connsiteY3" fmla="*/ 189093 h 1134533"/>
              <a:gd name="connsiteX4" fmla="*/ 2022157 w 2022157"/>
              <a:gd name="connsiteY4" fmla="*/ 945440 h 1134533"/>
              <a:gd name="connsiteX5" fmla="*/ 1833064 w 2022157"/>
              <a:gd name="connsiteY5" fmla="*/ 1134533 h 1134533"/>
              <a:gd name="connsiteX6" fmla="*/ 189093 w 2022157"/>
              <a:gd name="connsiteY6" fmla="*/ 1134533 h 1134533"/>
              <a:gd name="connsiteX7" fmla="*/ 0 w 2022157"/>
              <a:gd name="connsiteY7" fmla="*/ 945440 h 1134533"/>
              <a:gd name="connsiteX8" fmla="*/ 0 w 2022157"/>
              <a:gd name="connsiteY8" fmla="*/ 189093 h 113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2157" h="1134533">
                <a:moveTo>
                  <a:pt x="0" y="189093"/>
                </a:moveTo>
                <a:cubicBezTo>
                  <a:pt x="0" y="84660"/>
                  <a:pt x="84660" y="0"/>
                  <a:pt x="189093" y="0"/>
                </a:cubicBezTo>
                <a:lnTo>
                  <a:pt x="1833064" y="0"/>
                </a:lnTo>
                <a:cubicBezTo>
                  <a:pt x="1937497" y="0"/>
                  <a:pt x="2022157" y="84660"/>
                  <a:pt x="2022157" y="189093"/>
                </a:cubicBezTo>
                <a:lnTo>
                  <a:pt x="2022157" y="945440"/>
                </a:lnTo>
                <a:cubicBezTo>
                  <a:pt x="2022157" y="1049873"/>
                  <a:pt x="1937497" y="1134533"/>
                  <a:pt x="1833064" y="1134533"/>
                </a:cubicBezTo>
                <a:lnTo>
                  <a:pt x="189093" y="1134533"/>
                </a:lnTo>
                <a:cubicBezTo>
                  <a:pt x="84660" y="1134533"/>
                  <a:pt x="0" y="1049873"/>
                  <a:pt x="0" y="945440"/>
                </a:cubicBezTo>
                <a:lnTo>
                  <a:pt x="0" y="189093"/>
                </a:lnTo>
                <a:close/>
              </a:path>
            </a:pathLst>
          </a:custGeom>
          <a:solidFill>
            <a:srgbClr val="2E3842"/>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spcFirstLastPara="0" vert="horz" wrap="square" lIns="98891" tIns="98891" rIns="98891" bIns="98891" numCol="1" spcCol="1270" anchor="ctr" anchorCtr="0">
            <a:noAutofit/>
          </a:bodyPr>
          <a:lstStyle>
            <a:defPPr>
              <a:defRPr lang="en-US"/>
            </a:defPPr>
            <a:lvl1pPr marL="0" algn="l" defTabSz="1042736" rtl="0" eaLnBrk="1" latinLnBrk="0" hangingPunct="1">
              <a:defRPr sz="2053" kern="1200">
                <a:solidFill>
                  <a:schemeClr val="tx1"/>
                </a:solidFill>
                <a:latin typeface="+mn-lt"/>
                <a:ea typeface="+mn-ea"/>
                <a:cs typeface="+mn-cs"/>
              </a:defRPr>
            </a:lvl1pPr>
            <a:lvl2pPr marL="521368" algn="l" defTabSz="1042736" rtl="0" eaLnBrk="1" latinLnBrk="0" hangingPunct="1">
              <a:defRPr sz="2053" kern="1200">
                <a:solidFill>
                  <a:schemeClr val="tx1"/>
                </a:solidFill>
                <a:latin typeface="+mn-lt"/>
                <a:ea typeface="+mn-ea"/>
                <a:cs typeface="+mn-cs"/>
              </a:defRPr>
            </a:lvl2pPr>
            <a:lvl3pPr marL="1042736" algn="l" defTabSz="1042736" rtl="0" eaLnBrk="1" latinLnBrk="0" hangingPunct="1">
              <a:defRPr sz="2053" kern="1200">
                <a:solidFill>
                  <a:schemeClr val="tx1"/>
                </a:solidFill>
                <a:latin typeface="+mn-lt"/>
                <a:ea typeface="+mn-ea"/>
                <a:cs typeface="+mn-cs"/>
              </a:defRPr>
            </a:lvl3pPr>
            <a:lvl4pPr marL="1564102" algn="l" defTabSz="1042736" rtl="0" eaLnBrk="1" latinLnBrk="0" hangingPunct="1">
              <a:defRPr sz="2053" kern="1200">
                <a:solidFill>
                  <a:schemeClr val="tx1"/>
                </a:solidFill>
                <a:latin typeface="+mn-lt"/>
                <a:ea typeface="+mn-ea"/>
                <a:cs typeface="+mn-cs"/>
              </a:defRPr>
            </a:lvl4pPr>
            <a:lvl5pPr marL="2085470" algn="l" defTabSz="1042736" rtl="0" eaLnBrk="1" latinLnBrk="0" hangingPunct="1">
              <a:defRPr sz="2053" kern="1200">
                <a:solidFill>
                  <a:schemeClr val="tx1"/>
                </a:solidFill>
                <a:latin typeface="+mn-lt"/>
                <a:ea typeface="+mn-ea"/>
                <a:cs typeface="+mn-cs"/>
              </a:defRPr>
            </a:lvl5pPr>
            <a:lvl6pPr marL="2606838" algn="l" defTabSz="1042736" rtl="0" eaLnBrk="1" latinLnBrk="0" hangingPunct="1">
              <a:defRPr sz="2053" kern="1200">
                <a:solidFill>
                  <a:schemeClr val="tx1"/>
                </a:solidFill>
                <a:latin typeface="+mn-lt"/>
                <a:ea typeface="+mn-ea"/>
                <a:cs typeface="+mn-cs"/>
              </a:defRPr>
            </a:lvl6pPr>
            <a:lvl7pPr marL="3128206" algn="l" defTabSz="1042736" rtl="0" eaLnBrk="1" latinLnBrk="0" hangingPunct="1">
              <a:defRPr sz="2053" kern="1200">
                <a:solidFill>
                  <a:schemeClr val="tx1"/>
                </a:solidFill>
                <a:latin typeface="+mn-lt"/>
                <a:ea typeface="+mn-ea"/>
                <a:cs typeface="+mn-cs"/>
              </a:defRPr>
            </a:lvl7pPr>
            <a:lvl8pPr marL="3649572" algn="l" defTabSz="1042736" rtl="0" eaLnBrk="1" latinLnBrk="0" hangingPunct="1">
              <a:defRPr sz="2053" kern="1200">
                <a:solidFill>
                  <a:schemeClr val="tx1"/>
                </a:solidFill>
                <a:latin typeface="+mn-lt"/>
                <a:ea typeface="+mn-ea"/>
                <a:cs typeface="+mn-cs"/>
              </a:defRPr>
            </a:lvl8pPr>
            <a:lvl9pPr marL="4170940" algn="l" defTabSz="1042736" rtl="0" eaLnBrk="1" latinLnBrk="0" hangingPunct="1">
              <a:defRPr sz="2053" kern="1200">
                <a:solidFill>
                  <a:schemeClr val="tx1"/>
                </a:solidFill>
                <a:latin typeface="+mn-lt"/>
                <a:ea typeface="+mn-ea"/>
                <a:cs typeface="+mn-cs"/>
              </a:defRPr>
            </a:lvl9pPr>
          </a:lstStyle>
          <a:p>
            <a:pPr algn="ctr" defTabSz="621887">
              <a:lnSpc>
                <a:spcPct val="90000"/>
              </a:lnSpc>
              <a:spcBef>
                <a:spcPct val="0"/>
              </a:spcBef>
              <a:spcAft>
                <a:spcPct val="35000"/>
              </a:spcAft>
            </a:pPr>
            <a:r>
              <a:rPr lang="en-AU" sz="1399" b="1" dirty="0">
                <a:solidFill>
                  <a:schemeClr val="bg1"/>
                </a:solidFill>
              </a:rPr>
              <a:t>FINANCIAL CAPITAL</a:t>
            </a:r>
            <a:br>
              <a:rPr lang="en-AU" sz="1399" b="1" dirty="0">
                <a:solidFill>
                  <a:schemeClr val="bg1"/>
                </a:solidFill>
              </a:rPr>
            </a:br>
            <a:r>
              <a:rPr lang="en-AU" sz="1399" b="1" dirty="0">
                <a:solidFill>
                  <a:schemeClr val="bg1"/>
                </a:solidFill>
              </a:rPr>
              <a:t>active &amp; passive assets</a:t>
            </a:r>
          </a:p>
        </p:txBody>
      </p:sp>
      <p:sp>
        <p:nvSpPr>
          <p:cNvPr id="2" name="Slide Number Placeholder 3">
            <a:extLst>
              <a:ext uri="{FF2B5EF4-FFF2-40B4-BE49-F238E27FC236}">
                <a16:creationId xmlns:a16="http://schemas.microsoft.com/office/drawing/2014/main" id="{9B61ECEA-9A6E-9A8C-9A82-EE4A1014C937}"/>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29</a:t>
            </a:fld>
            <a:endParaRPr lang="en-AU" dirty="0"/>
          </a:p>
        </p:txBody>
      </p:sp>
    </p:spTree>
    <p:extLst>
      <p:ext uri="{BB962C8B-B14F-4D97-AF65-F5344CB8AC3E}">
        <p14:creationId xmlns:p14="http://schemas.microsoft.com/office/powerpoint/2010/main" val="3080824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576995-140D-9167-FF7E-80D5EDAFE9CF}"/>
              </a:ext>
            </a:extLst>
          </p:cNvPr>
          <p:cNvSpPr>
            <a:spLocks noGrp="1"/>
          </p:cNvSpPr>
          <p:nvPr>
            <p:ph type="title"/>
          </p:nvPr>
        </p:nvSpPr>
        <p:spPr>
          <a:xfrm>
            <a:off x="1079500" y="958850"/>
            <a:ext cx="5105400" cy="467717"/>
          </a:xfrm>
        </p:spPr>
        <p:txBody>
          <a:bodyPr/>
          <a:lstStyle/>
          <a:p>
            <a:pPr algn="ctr"/>
            <a:r>
              <a:rPr lang="en-AU" dirty="0"/>
              <a:t>Personne De Confiance </a:t>
            </a:r>
          </a:p>
        </p:txBody>
      </p:sp>
      <p:pic>
        <p:nvPicPr>
          <p:cNvPr id="12" name="Picture 11" descr="A blue card with white text&#10;&#10;Description automatically generated">
            <a:extLst>
              <a:ext uri="{FF2B5EF4-FFF2-40B4-BE49-F238E27FC236}">
                <a16:creationId xmlns:a16="http://schemas.microsoft.com/office/drawing/2014/main" id="{D7BBCFC4-C5C0-4520-0F01-F9FB020815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5300" y="2254250"/>
            <a:ext cx="8229600" cy="3358595"/>
          </a:xfrm>
          <a:prstGeom prst="rect">
            <a:avLst/>
          </a:prstGeom>
        </p:spPr>
      </p:pic>
      <p:sp>
        <p:nvSpPr>
          <p:cNvPr id="2" name="Slide Number Placeholder 1">
            <a:extLst>
              <a:ext uri="{FF2B5EF4-FFF2-40B4-BE49-F238E27FC236}">
                <a16:creationId xmlns:a16="http://schemas.microsoft.com/office/drawing/2014/main" id="{EA031367-C95F-57DF-4CC8-CD454999F426}"/>
              </a:ext>
            </a:extLst>
          </p:cNvPr>
          <p:cNvSpPr>
            <a:spLocks noGrp="1"/>
          </p:cNvSpPr>
          <p:nvPr>
            <p:ph type="sldNum" sz="quarter" idx="7"/>
          </p:nvPr>
        </p:nvSpPr>
        <p:spPr/>
        <p:txBody>
          <a:bodyPr/>
          <a:lstStyle/>
          <a:p>
            <a:fld id="{B6F15528-21DE-4FAA-801E-634DDDAF4B2B}" type="slidenum">
              <a:rPr lang="en-AU" smtClean="0"/>
              <a:t>3</a:t>
            </a:fld>
            <a:endParaRPr lang="en-AU"/>
          </a:p>
        </p:txBody>
      </p:sp>
    </p:spTree>
    <p:extLst>
      <p:ext uri="{BB962C8B-B14F-4D97-AF65-F5344CB8AC3E}">
        <p14:creationId xmlns:p14="http://schemas.microsoft.com/office/powerpoint/2010/main" val="8188554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576995-140D-9167-FF7E-80D5EDAFE9CF}"/>
              </a:ext>
            </a:extLst>
          </p:cNvPr>
          <p:cNvSpPr>
            <a:spLocks noGrp="1"/>
          </p:cNvSpPr>
          <p:nvPr>
            <p:ph type="title"/>
          </p:nvPr>
        </p:nvSpPr>
        <p:spPr>
          <a:xfrm>
            <a:off x="1169456" y="1054100"/>
            <a:ext cx="4477385" cy="430887"/>
          </a:xfrm>
        </p:spPr>
        <p:txBody>
          <a:bodyPr/>
          <a:lstStyle/>
          <a:p>
            <a:r>
              <a:rPr lang="en-AU" dirty="0"/>
              <a:t>Wheel of Life</a:t>
            </a:r>
          </a:p>
        </p:txBody>
      </p:sp>
      <p:pic>
        <p:nvPicPr>
          <p:cNvPr id="4" name="Picture 3">
            <a:extLst>
              <a:ext uri="{FF2B5EF4-FFF2-40B4-BE49-F238E27FC236}">
                <a16:creationId xmlns:a16="http://schemas.microsoft.com/office/drawing/2014/main" id="{E80BC9A3-D8B3-58B3-B5C2-66F89175AC18}"/>
              </a:ext>
            </a:extLst>
          </p:cNvPr>
          <p:cNvPicPr>
            <a:picLocks noChangeAspect="1"/>
          </p:cNvPicPr>
          <p:nvPr/>
        </p:nvPicPr>
        <p:blipFill>
          <a:blip r:embed="rId2"/>
          <a:stretch>
            <a:fillRect/>
          </a:stretch>
        </p:blipFill>
        <p:spPr>
          <a:xfrm>
            <a:off x="2260600" y="1456347"/>
            <a:ext cx="6172200" cy="5791322"/>
          </a:xfrm>
          <a:prstGeom prst="rect">
            <a:avLst/>
          </a:prstGeom>
        </p:spPr>
      </p:pic>
      <p:sp>
        <p:nvSpPr>
          <p:cNvPr id="2" name="Slide Number Placeholder 3">
            <a:extLst>
              <a:ext uri="{FF2B5EF4-FFF2-40B4-BE49-F238E27FC236}">
                <a16:creationId xmlns:a16="http://schemas.microsoft.com/office/drawing/2014/main" id="{0410B107-C865-30B1-5E2F-F322ACE3EA3E}"/>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30</a:t>
            </a:fld>
            <a:endParaRPr lang="en-AU" dirty="0"/>
          </a:p>
        </p:txBody>
      </p:sp>
    </p:spTree>
    <p:extLst>
      <p:ext uri="{BB962C8B-B14F-4D97-AF65-F5344CB8AC3E}">
        <p14:creationId xmlns:p14="http://schemas.microsoft.com/office/powerpoint/2010/main" val="3018205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576995-140D-9167-FF7E-80D5EDAFE9CF}"/>
              </a:ext>
            </a:extLst>
          </p:cNvPr>
          <p:cNvSpPr>
            <a:spLocks noGrp="1"/>
          </p:cNvSpPr>
          <p:nvPr>
            <p:ph type="title"/>
          </p:nvPr>
        </p:nvSpPr>
        <p:spPr>
          <a:xfrm>
            <a:off x="1169456" y="1054100"/>
            <a:ext cx="6082244" cy="861774"/>
          </a:xfrm>
        </p:spPr>
        <p:txBody>
          <a:bodyPr/>
          <a:lstStyle/>
          <a:p>
            <a:r>
              <a:rPr lang="en-AU" dirty="0"/>
              <a:t>Be a Great Family- 100 Year Plan</a:t>
            </a:r>
          </a:p>
        </p:txBody>
      </p:sp>
      <p:pic>
        <p:nvPicPr>
          <p:cNvPr id="14" name="Picture 13" descr="A diagram of a family structure&#10;&#10;Description automatically generated">
            <a:extLst>
              <a:ext uri="{FF2B5EF4-FFF2-40B4-BE49-F238E27FC236}">
                <a16:creationId xmlns:a16="http://schemas.microsoft.com/office/drawing/2014/main" id="{06FEC51B-04DA-DB85-1A48-317EA9A072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2900" y="1720850"/>
            <a:ext cx="7162800" cy="5721762"/>
          </a:xfrm>
          <a:prstGeom prst="rect">
            <a:avLst/>
          </a:prstGeom>
        </p:spPr>
      </p:pic>
      <p:sp>
        <p:nvSpPr>
          <p:cNvPr id="2" name="Slide Number Placeholder 3">
            <a:extLst>
              <a:ext uri="{FF2B5EF4-FFF2-40B4-BE49-F238E27FC236}">
                <a16:creationId xmlns:a16="http://schemas.microsoft.com/office/drawing/2014/main" id="{55600469-D205-673C-7676-6178F85C4A74}"/>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31</a:t>
            </a:fld>
            <a:endParaRPr lang="en-AU" dirty="0"/>
          </a:p>
        </p:txBody>
      </p:sp>
    </p:spTree>
    <p:extLst>
      <p:ext uri="{BB962C8B-B14F-4D97-AF65-F5344CB8AC3E}">
        <p14:creationId xmlns:p14="http://schemas.microsoft.com/office/powerpoint/2010/main" val="41423377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5F36-627E-6D73-1545-B789D6C36145}"/>
              </a:ext>
            </a:extLst>
          </p:cNvPr>
          <p:cNvSpPr>
            <a:spLocks noGrp="1"/>
          </p:cNvSpPr>
          <p:nvPr>
            <p:ph type="title"/>
          </p:nvPr>
        </p:nvSpPr>
        <p:spPr>
          <a:xfrm>
            <a:off x="1169456" y="1054100"/>
            <a:ext cx="5167844" cy="861774"/>
          </a:xfrm>
        </p:spPr>
        <p:txBody>
          <a:bodyPr/>
          <a:lstStyle/>
          <a:p>
            <a:r>
              <a:rPr lang="en-AU"/>
              <a:t>True Wealth – Our Family</a:t>
            </a:r>
          </a:p>
        </p:txBody>
      </p:sp>
      <p:pic>
        <p:nvPicPr>
          <p:cNvPr id="5" name="Picture 4">
            <a:extLst>
              <a:ext uri="{FF2B5EF4-FFF2-40B4-BE49-F238E27FC236}">
                <a16:creationId xmlns:a16="http://schemas.microsoft.com/office/drawing/2014/main" id="{F7837233-B333-4C2B-998D-D404C0582827}"/>
              </a:ext>
            </a:extLst>
          </p:cNvPr>
          <p:cNvPicPr>
            <a:picLocks noChangeAspect="1"/>
          </p:cNvPicPr>
          <p:nvPr/>
        </p:nvPicPr>
        <p:blipFill>
          <a:blip r:embed="rId2"/>
          <a:stretch>
            <a:fillRect/>
          </a:stretch>
        </p:blipFill>
        <p:spPr>
          <a:xfrm>
            <a:off x="2374900" y="1685257"/>
            <a:ext cx="6382575" cy="5773486"/>
          </a:xfrm>
          <a:prstGeom prst="rect">
            <a:avLst/>
          </a:prstGeom>
        </p:spPr>
      </p:pic>
      <p:sp>
        <p:nvSpPr>
          <p:cNvPr id="3" name="Slide Number Placeholder 3">
            <a:extLst>
              <a:ext uri="{FF2B5EF4-FFF2-40B4-BE49-F238E27FC236}">
                <a16:creationId xmlns:a16="http://schemas.microsoft.com/office/drawing/2014/main" id="{D255BE56-508C-53D0-EBB5-AF0D0328D9C9}"/>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32</a:t>
            </a:fld>
            <a:endParaRPr lang="en-AU" dirty="0"/>
          </a:p>
        </p:txBody>
      </p:sp>
    </p:spTree>
    <p:extLst>
      <p:ext uri="{BB962C8B-B14F-4D97-AF65-F5344CB8AC3E}">
        <p14:creationId xmlns:p14="http://schemas.microsoft.com/office/powerpoint/2010/main" val="15625775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83558-A19D-EEF7-AB80-07B3D238C776}"/>
              </a:ext>
            </a:extLst>
          </p:cNvPr>
          <p:cNvSpPr>
            <a:spLocks noGrp="1"/>
          </p:cNvSpPr>
          <p:nvPr>
            <p:ph type="title"/>
          </p:nvPr>
        </p:nvSpPr>
        <p:spPr>
          <a:xfrm>
            <a:off x="1169456" y="1054100"/>
            <a:ext cx="5853644" cy="861774"/>
          </a:xfrm>
        </p:spPr>
        <p:txBody>
          <a:bodyPr/>
          <a:lstStyle/>
          <a:p>
            <a:r>
              <a:rPr lang="en-AU"/>
              <a:t>Can The Family Live The Plan ?</a:t>
            </a:r>
          </a:p>
        </p:txBody>
      </p:sp>
      <p:pic>
        <p:nvPicPr>
          <p:cNvPr id="4" name="Picture 3">
            <a:extLst>
              <a:ext uri="{FF2B5EF4-FFF2-40B4-BE49-F238E27FC236}">
                <a16:creationId xmlns:a16="http://schemas.microsoft.com/office/drawing/2014/main" id="{59A788E0-4406-5217-1932-553D5487399A}"/>
              </a:ext>
            </a:extLst>
          </p:cNvPr>
          <p:cNvPicPr>
            <a:picLocks noChangeAspect="1"/>
          </p:cNvPicPr>
          <p:nvPr/>
        </p:nvPicPr>
        <p:blipFill>
          <a:blip r:embed="rId2"/>
          <a:stretch>
            <a:fillRect/>
          </a:stretch>
        </p:blipFill>
        <p:spPr>
          <a:xfrm>
            <a:off x="999268" y="1621409"/>
            <a:ext cx="9440120" cy="5901181"/>
          </a:xfrm>
          <a:prstGeom prst="rect">
            <a:avLst/>
          </a:prstGeom>
        </p:spPr>
      </p:pic>
    </p:spTree>
    <p:extLst>
      <p:ext uri="{BB962C8B-B14F-4D97-AF65-F5344CB8AC3E}">
        <p14:creationId xmlns:p14="http://schemas.microsoft.com/office/powerpoint/2010/main" val="3985170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8" y="1070509"/>
            <a:ext cx="7626141" cy="443595"/>
          </a:xfrm>
          <a:prstGeom prst="rect">
            <a:avLst/>
          </a:prstGeom>
        </p:spPr>
        <p:txBody>
          <a:bodyPr vert="horz" wrap="square" lIns="0" tIns="12585" rIns="0" bIns="0" rtlCol="0">
            <a:spAutoFit/>
          </a:bodyPr>
          <a:lstStyle/>
          <a:p>
            <a:pPr marL="12587" rtl="0">
              <a:spcBef>
                <a:spcPts val="99"/>
              </a:spcBef>
            </a:pPr>
            <a:r>
              <a:rPr lang="en-AU" spc="-10" dirty="0"/>
              <a:t>Situational Coaching </a:t>
            </a:r>
            <a:endParaRPr spc="-10" dirty="0"/>
          </a:p>
        </p:txBody>
      </p:sp>
      <p:pic>
        <p:nvPicPr>
          <p:cNvPr id="5" name="Picture 4">
            <a:extLst>
              <a:ext uri="{FF2B5EF4-FFF2-40B4-BE49-F238E27FC236}">
                <a16:creationId xmlns:a16="http://schemas.microsoft.com/office/drawing/2014/main" id="{C9484453-7B66-6809-4E78-340EFFA0302F}"/>
              </a:ext>
            </a:extLst>
          </p:cNvPr>
          <p:cNvPicPr>
            <a:picLocks noChangeAspect="1"/>
          </p:cNvPicPr>
          <p:nvPr/>
        </p:nvPicPr>
        <p:blipFill>
          <a:blip r:embed="rId3"/>
          <a:stretch>
            <a:fillRect/>
          </a:stretch>
        </p:blipFill>
        <p:spPr>
          <a:xfrm>
            <a:off x="2498327" y="1514104"/>
            <a:ext cx="5696745" cy="5973009"/>
          </a:xfrm>
          <a:prstGeom prst="rect">
            <a:avLst/>
          </a:prstGeom>
        </p:spPr>
      </p:pic>
      <p:sp>
        <p:nvSpPr>
          <p:cNvPr id="3" name="Slide Number Placeholder 2">
            <a:extLst>
              <a:ext uri="{FF2B5EF4-FFF2-40B4-BE49-F238E27FC236}">
                <a16:creationId xmlns:a16="http://schemas.microsoft.com/office/drawing/2014/main" id="{EDF84895-8AFF-5888-F95A-24292117C8BB}"/>
              </a:ext>
            </a:extLst>
          </p:cNvPr>
          <p:cNvSpPr>
            <a:spLocks noGrp="1"/>
          </p:cNvSpPr>
          <p:nvPr>
            <p:ph type="sldNum" sz="quarter" idx="7"/>
          </p:nvPr>
        </p:nvSpPr>
        <p:spPr/>
        <p:txBody>
          <a:bodyPr/>
          <a:lstStyle/>
          <a:p>
            <a:fld id="{B6F15528-21DE-4FAA-801E-634DDDAF4B2B}" type="slidenum">
              <a:rPr lang="en-AU" smtClean="0"/>
              <a:t>34</a:t>
            </a:fld>
            <a:endParaRPr lang="en-AU"/>
          </a:p>
        </p:txBody>
      </p:sp>
    </p:spTree>
    <p:extLst>
      <p:ext uri="{BB962C8B-B14F-4D97-AF65-F5344CB8AC3E}">
        <p14:creationId xmlns:p14="http://schemas.microsoft.com/office/powerpoint/2010/main" val="16874914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67F9A-618F-D0B3-D8A3-2B65290673A9}"/>
              </a:ext>
            </a:extLst>
          </p:cNvPr>
          <p:cNvSpPr>
            <a:spLocks noGrp="1"/>
          </p:cNvSpPr>
          <p:nvPr>
            <p:ph type="title"/>
          </p:nvPr>
        </p:nvSpPr>
        <p:spPr>
          <a:xfrm>
            <a:off x="1155718" y="806450"/>
            <a:ext cx="5853644" cy="430887"/>
          </a:xfrm>
        </p:spPr>
        <p:txBody>
          <a:bodyPr/>
          <a:lstStyle/>
          <a:p>
            <a:r>
              <a:rPr lang="en-AU" dirty="0"/>
              <a:t>The Client: McDonald Brothers</a:t>
            </a:r>
          </a:p>
        </p:txBody>
      </p:sp>
      <p:sp>
        <p:nvSpPr>
          <p:cNvPr id="3" name="Text Placeholder 2">
            <a:extLst>
              <a:ext uri="{FF2B5EF4-FFF2-40B4-BE49-F238E27FC236}">
                <a16:creationId xmlns:a16="http://schemas.microsoft.com/office/drawing/2014/main" id="{DAA6F943-B777-5B7C-74DD-E3E7D3D1FA60}"/>
              </a:ext>
            </a:extLst>
          </p:cNvPr>
          <p:cNvSpPr>
            <a:spLocks noGrp="1"/>
          </p:cNvSpPr>
          <p:nvPr>
            <p:ph type="body" idx="1"/>
          </p:nvPr>
        </p:nvSpPr>
        <p:spPr>
          <a:xfrm>
            <a:off x="1155718" y="2267474"/>
            <a:ext cx="8763000" cy="4816410"/>
          </a:xfrm>
        </p:spPr>
        <p:txBody>
          <a:bodyPr/>
          <a:lstStyle/>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McDonald Brother #1: age 60</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McDonald Brother #2: age 57</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5</a:t>
            </a:r>
            <a:r>
              <a:rPr lang="en-AU" sz="1800" baseline="30000">
                <a:effectLst/>
                <a:latin typeface="Montserrat" panose="00000500000000000000" pitchFamily="2" charset="0"/>
                <a:ea typeface="Calibri" panose="020F0502020204030204" pitchFamily="34" charset="0"/>
                <a:cs typeface="Arial" panose="020B0604020202020204" pitchFamily="34" charset="0"/>
              </a:rPr>
              <a:t>th</a:t>
            </a:r>
            <a:r>
              <a:rPr lang="en-AU" sz="1800">
                <a:effectLst/>
                <a:latin typeface="Montserrat" panose="00000500000000000000" pitchFamily="2" charset="0"/>
                <a:ea typeface="Calibri" panose="020F0502020204030204" pitchFamily="34" charset="0"/>
                <a:cs typeface="Arial" panose="020B0604020202020204" pitchFamily="34" charset="0"/>
              </a:rPr>
              <a:t> gen farming family</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solidFill>
                  <a:schemeClr val="tx1"/>
                </a:solidFill>
                <a:effectLst/>
                <a:latin typeface="Montserrat" panose="00000500000000000000" pitchFamily="2" charset="0"/>
                <a:ea typeface="Calibri" panose="020F0502020204030204" pitchFamily="34" charset="0"/>
                <a:cs typeface="Arial" panose="020B0604020202020204" pitchFamily="34" charset="0"/>
              </a:rPr>
              <a:t>Been</a:t>
            </a:r>
            <a:r>
              <a:rPr lang="en-AU" sz="1800">
                <a:effectLst/>
                <a:latin typeface="Montserrat" panose="00000500000000000000" pitchFamily="2" charset="0"/>
                <a:ea typeface="Calibri" panose="020F0502020204030204" pitchFamily="34" charset="0"/>
                <a:cs typeface="Arial" panose="020B0604020202020204" pitchFamily="34" charset="0"/>
              </a:rPr>
              <a:t> in business ~30 years. </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Staff 120+ (~50 permanent, remainder casual). </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Revenue ~$20M p.a. (group)</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Several revenue lines</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Profit ~$1-1.5M p.a. (group)</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Property assets $             (group)</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Debt $            (group)</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Debt repayments $400k p.a.</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Drawing for McDonald Brothers</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Life insurance policies in place</a:t>
            </a:r>
          </a:p>
          <a:p>
            <a:pPr marL="171450" lvl="0" indent="-171450" fontAlgn="ctr">
              <a:spcBef>
                <a:spcPts val="300"/>
              </a:spcBef>
              <a:spcAft>
                <a:spcPts val="300"/>
              </a:spcAft>
              <a:buSzPts val="1000"/>
              <a:buFont typeface="Arial" panose="020B0604020202020204" pitchFamily="34" charset="0"/>
              <a:buChar char="•"/>
              <a:tabLst>
                <a:tab pos="457200" algn="l"/>
              </a:tabLst>
            </a:pPr>
            <a:r>
              <a:rPr lang="en-AU" sz="1800">
                <a:effectLst/>
                <a:latin typeface="Montserrat" panose="00000500000000000000" pitchFamily="2" charset="0"/>
                <a:ea typeface="Calibri" panose="020F0502020204030204" pitchFamily="34" charset="0"/>
                <a:cs typeface="Arial" panose="020B0604020202020204" pitchFamily="34" charset="0"/>
              </a:rPr>
              <a:t>Yearly commitments to supermarket chains.</a:t>
            </a:r>
          </a:p>
          <a:p>
            <a:endParaRPr lang="en-AU"/>
          </a:p>
        </p:txBody>
      </p:sp>
      <p:sp>
        <p:nvSpPr>
          <p:cNvPr id="4" name="Title 1">
            <a:extLst>
              <a:ext uri="{FF2B5EF4-FFF2-40B4-BE49-F238E27FC236}">
                <a16:creationId xmlns:a16="http://schemas.microsoft.com/office/drawing/2014/main" id="{A6A72AE3-A7EE-3932-41E4-E33D66778A5A}"/>
              </a:ext>
            </a:extLst>
          </p:cNvPr>
          <p:cNvSpPr txBox="1">
            <a:spLocks/>
          </p:cNvSpPr>
          <p:nvPr/>
        </p:nvSpPr>
        <p:spPr>
          <a:xfrm>
            <a:off x="1155718" y="1237337"/>
            <a:ext cx="9372582" cy="800219"/>
          </a:xfrm>
          <a:prstGeom prst="rect">
            <a:avLst/>
          </a:prstGeom>
        </p:spPr>
        <p:txBody>
          <a:bodyPr wrap="square" lIns="0" tIns="0" rIns="0" bIns="0">
            <a:spAutoFit/>
          </a:bodyPr>
          <a:lstStyle>
            <a:lvl1pPr>
              <a:defRPr sz="2800" b="0" i="0">
                <a:solidFill>
                  <a:srgbClr val="2E3841"/>
                </a:solidFill>
                <a:latin typeface="Montserrat Medium"/>
                <a:ea typeface="+mj-ea"/>
                <a:cs typeface="Montserrat Medium"/>
              </a:defRPr>
            </a:lvl1pPr>
          </a:lstStyle>
          <a:p>
            <a:r>
              <a:rPr lang="en-AU"/>
              <a:t>The brief: </a:t>
            </a:r>
            <a:r>
              <a:rPr lang="en-AU" sz="2400">
                <a:solidFill>
                  <a:srgbClr val="B68150"/>
                </a:solidFill>
              </a:rPr>
              <a:t>Brothers want to prepare for succession properly, avoid the mistakes of their parents</a:t>
            </a:r>
          </a:p>
        </p:txBody>
      </p:sp>
      <p:sp>
        <p:nvSpPr>
          <p:cNvPr id="5" name="Slide Number Placeholder 4">
            <a:extLst>
              <a:ext uri="{FF2B5EF4-FFF2-40B4-BE49-F238E27FC236}">
                <a16:creationId xmlns:a16="http://schemas.microsoft.com/office/drawing/2014/main" id="{27AF6F39-F0DD-03A0-693E-69AD7A66138E}"/>
              </a:ext>
            </a:extLst>
          </p:cNvPr>
          <p:cNvSpPr>
            <a:spLocks noGrp="1"/>
          </p:cNvSpPr>
          <p:nvPr>
            <p:ph type="sldNum" sz="quarter" idx="7"/>
          </p:nvPr>
        </p:nvSpPr>
        <p:spPr/>
        <p:txBody>
          <a:bodyPr/>
          <a:lstStyle/>
          <a:p>
            <a:fld id="{B6F15528-21DE-4FAA-801E-634DDDAF4B2B}" type="slidenum">
              <a:rPr lang="en-AU" smtClean="0"/>
              <a:t>35</a:t>
            </a:fld>
            <a:endParaRPr lang="en-AU"/>
          </a:p>
        </p:txBody>
      </p:sp>
    </p:spTree>
    <p:extLst>
      <p:ext uri="{BB962C8B-B14F-4D97-AF65-F5344CB8AC3E}">
        <p14:creationId xmlns:p14="http://schemas.microsoft.com/office/powerpoint/2010/main" val="3804704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F665B7-2E1B-131D-6AA1-851CB86F6D2C}"/>
              </a:ext>
            </a:extLst>
          </p:cNvPr>
          <p:cNvSpPr>
            <a:spLocks noGrp="1"/>
          </p:cNvSpPr>
          <p:nvPr>
            <p:ph type="body" idx="1"/>
          </p:nvPr>
        </p:nvSpPr>
        <p:spPr>
          <a:xfrm>
            <a:off x="1334277" y="1041271"/>
            <a:ext cx="4462891" cy="492443"/>
          </a:xfrm>
        </p:spPr>
        <p:txBody>
          <a:bodyPr/>
          <a:lstStyle/>
          <a:p>
            <a:pPr algn="l"/>
            <a:r>
              <a:rPr lang="en-AU" sz="3200" dirty="0">
                <a:latin typeface="Montserrat" pitchFamily="2" charset="0"/>
              </a:rPr>
              <a:t>Strategy Day agenda</a:t>
            </a:r>
          </a:p>
        </p:txBody>
      </p:sp>
      <p:sp>
        <p:nvSpPr>
          <p:cNvPr id="2" name="TextBox 1">
            <a:extLst>
              <a:ext uri="{FF2B5EF4-FFF2-40B4-BE49-F238E27FC236}">
                <a16:creationId xmlns:a16="http://schemas.microsoft.com/office/drawing/2014/main" id="{8F1196EC-A367-023B-9823-2C1EFEB648F6}"/>
              </a:ext>
            </a:extLst>
          </p:cNvPr>
          <p:cNvSpPr txBox="1"/>
          <p:nvPr/>
        </p:nvSpPr>
        <p:spPr>
          <a:xfrm>
            <a:off x="1334277" y="1632858"/>
            <a:ext cx="7051354" cy="5723618"/>
          </a:xfrm>
          <a:prstGeom prst="rect">
            <a:avLst/>
          </a:prstGeom>
          <a:noFill/>
        </p:spPr>
        <p:txBody>
          <a:bodyPr wrap="none" rtlCol="0">
            <a:spAutoFit/>
          </a:bodyPr>
          <a:lstStyle/>
          <a:p>
            <a:pPr marL="342900" lvl="0" indent="-342900">
              <a:lnSpc>
                <a:spcPct val="115000"/>
              </a:lnSpc>
              <a:spcAft>
                <a:spcPts val="800"/>
              </a:spcAft>
              <a:buFont typeface="+mj-lt"/>
              <a:buAutoNum type="arabi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Welcome &amp; introductions</a:t>
            </a:r>
          </a:p>
          <a:p>
            <a:pPr marL="342900" lvl="0" indent="-342900">
              <a:lnSpc>
                <a:spcPct val="115000"/>
              </a:lnSpc>
              <a:spcAft>
                <a:spcPts val="800"/>
              </a:spcAft>
              <a:buFont typeface="+mj-lt"/>
              <a:buAutoNum type="arabi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Why we are here – agree on what the context of the day is and what we plan to achieve from the day</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Succession Slides - </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Innocence to Integration</a:t>
            </a:r>
          </a:p>
          <a:p>
            <a:pPr marL="342900" lvl="0" indent="-342900">
              <a:lnSpc>
                <a:spcPct val="115000"/>
              </a:lnSpc>
              <a:spcAft>
                <a:spcPts val="800"/>
              </a:spcAft>
              <a:buFont typeface="+mj-lt"/>
              <a:buAutoNum type="arabi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Where are we now</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3 1 Now</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Chaos to Greatnes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Business Wheel of Life</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Voluntary v Involuntary Slide (Part of Succession) [Elephant]</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Wheel of competency </a:t>
            </a:r>
          </a:p>
          <a:p>
            <a:pPr marL="342900" lvl="0" indent="-342900">
              <a:lnSpc>
                <a:spcPct val="115000"/>
              </a:lnSpc>
              <a:spcAft>
                <a:spcPts val="800"/>
              </a:spcAft>
              <a:buFont typeface="+mj-lt"/>
              <a:buAutoNum type="arabi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Where are we trying to get to in the future and why</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3 year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15 year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Risk Matrix</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1 Year</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90 day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Income Equity &amp; Control</a:t>
            </a:r>
          </a:p>
          <a:p>
            <a:endParaRPr lang="en-AU" dirty="0"/>
          </a:p>
        </p:txBody>
      </p:sp>
      <p:sp>
        <p:nvSpPr>
          <p:cNvPr id="4" name="Slide Number Placeholder 3">
            <a:extLst>
              <a:ext uri="{FF2B5EF4-FFF2-40B4-BE49-F238E27FC236}">
                <a16:creationId xmlns:a16="http://schemas.microsoft.com/office/drawing/2014/main" id="{57E94881-6283-06E7-0D01-C497598DA65A}"/>
              </a:ext>
            </a:extLst>
          </p:cNvPr>
          <p:cNvSpPr>
            <a:spLocks noGrp="1"/>
          </p:cNvSpPr>
          <p:nvPr>
            <p:ph type="sldNum" sz="quarter" idx="7"/>
          </p:nvPr>
        </p:nvSpPr>
        <p:spPr/>
        <p:txBody>
          <a:bodyPr/>
          <a:lstStyle/>
          <a:p>
            <a:fld id="{B6F15528-21DE-4FAA-801E-634DDDAF4B2B}" type="slidenum">
              <a:rPr lang="en-AU" smtClean="0"/>
              <a:t>36</a:t>
            </a:fld>
            <a:endParaRPr lang="en-AU"/>
          </a:p>
        </p:txBody>
      </p:sp>
    </p:spTree>
    <p:extLst>
      <p:ext uri="{BB962C8B-B14F-4D97-AF65-F5344CB8AC3E}">
        <p14:creationId xmlns:p14="http://schemas.microsoft.com/office/powerpoint/2010/main" val="20278012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22A7EB-C4AC-942C-E201-A02B83250DA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B0D9FCB-E5AA-B65F-42B3-E2A3BD6321C6}"/>
              </a:ext>
            </a:extLst>
          </p:cNvPr>
          <p:cNvSpPr>
            <a:spLocks noGrp="1"/>
          </p:cNvSpPr>
          <p:nvPr>
            <p:ph type="body" idx="1"/>
          </p:nvPr>
        </p:nvSpPr>
        <p:spPr>
          <a:xfrm>
            <a:off x="1333696" y="1115917"/>
            <a:ext cx="4695897" cy="492443"/>
          </a:xfrm>
        </p:spPr>
        <p:txBody>
          <a:bodyPr/>
          <a:lstStyle/>
          <a:p>
            <a:pPr algn="l"/>
            <a:r>
              <a:rPr lang="en-AU" sz="3200" dirty="0">
                <a:latin typeface="Montserrat" pitchFamily="2" charset="0"/>
              </a:rPr>
              <a:t>Strategy Day agenda</a:t>
            </a:r>
          </a:p>
        </p:txBody>
      </p:sp>
      <p:sp>
        <p:nvSpPr>
          <p:cNvPr id="2" name="TextBox 1">
            <a:extLst>
              <a:ext uri="{FF2B5EF4-FFF2-40B4-BE49-F238E27FC236}">
                <a16:creationId xmlns:a16="http://schemas.microsoft.com/office/drawing/2014/main" id="{BB8876F5-DA77-7EF2-EA87-45A8F0193A40}"/>
              </a:ext>
            </a:extLst>
          </p:cNvPr>
          <p:cNvSpPr txBox="1"/>
          <p:nvPr/>
        </p:nvSpPr>
        <p:spPr>
          <a:xfrm>
            <a:off x="1333696" y="1787592"/>
            <a:ext cx="6923897" cy="3757054"/>
          </a:xfrm>
          <a:prstGeom prst="rect">
            <a:avLst/>
          </a:prstGeom>
          <a:noFill/>
        </p:spPr>
        <p:txBody>
          <a:bodyPr wrap="square" rtlCol="0">
            <a:spAutoFit/>
          </a:bodyPr>
          <a:lstStyle/>
          <a:p>
            <a:pPr marL="342900" lvl="0" indent="-342900">
              <a:lnSpc>
                <a:spcPct val="115000"/>
              </a:lnSpc>
              <a:spcAft>
                <a:spcPts val="800"/>
              </a:spcAft>
              <a:buFont typeface="+mj-lt"/>
              <a:buAutoNum type="arabicPeriod" startAt="5"/>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Agree upon 12 Month action plan moving forward  </a:t>
            </a:r>
          </a:p>
          <a:p>
            <a:pPr marL="342900" lvl="0" indent="-342900">
              <a:lnSpc>
                <a:spcPct val="115000"/>
              </a:lnSpc>
              <a:spcAft>
                <a:spcPts val="800"/>
              </a:spcAft>
              <a:buFont typeface="+mj-lt"/>
              <a:buAutoNum type="arabicPeriod" startAt="5"/>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Next step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Monthly check-in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Governance structure</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Income Equity Control – Due Diligence</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Business priorities (debt -v- capital replacement)</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Forecast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Management accounts</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Skills Gap Analysis </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Skill Plan</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Financial Planning</a:t>
            </a:r>
          </a:p>
          <a:p>
            <a:pPr marL="742950" lvl="1" indent="-285750">
              <a:lnSpc>
                <a:spcPct val="115000"/>
              </a:lnSpc>
              <a:spcAft>
                <a:spcPts val="800"/>
              </a:spcAft>
              <a:buFont typeface="+mj-lt"/>
              <a:buAutoNum type="alphaLcPeriod"/>
            </a:pPr>
            <a:r>
              <a:rPr lang="en-AU" sz="1200" kern="100" dirty="0">
                <a:effectLst/>
                <a:latin typeface="Aptos" panose="020B0004020202020204" pitchFamily="34" charset="0"/>
                <a:ea typeface="Aptos" panose="020B0004020202020204" pitchFamily="34" charset="0"/>
                <a:cs typeface="Times New Roman" panose="02020603050405020304" pitchFamily="18" charset="0"/>
              </a:rPr>
              <a:t>Estate Planning</a:t>
            </a:r>
            <a:endParaRPr lang="en-AU" dirty="0"/>
          </a:p>
        </p:txBody>
      </p:sp>
      <p:sp>
        <p:nvSpPr>
          <p:cNvPr id="4" name="Slide Number Placeholder 3">
            <a:extLst>
              <a:ext uri="{FF2B5EF4-FFF2-40B4-BE49-F238E27FC236}">
                <a16:creationId xmlns:a16="http://schemas.microsoft.com/office/drawing/2014/main" id="{AC31C871-7F5B-9B0E-B52F-FA5E55679167}"/>
              </a:ext>
            </a:extLst>
          </p:cNvPr>
          <p:cNvSpPr>
            <a:spLocks noGrp="1"/>
          </p:cNvSpPr>
          <p:nvPr>
            <p:ph type="sldNum" sz="quarter" idx="7"/>
          </p:nvPr>
        </p:nvSpPr>
        <p:spPr/>
        <p:txBody>
          <a:bodyPr/>
          <a:lstStyle/>
          <a:p>
            <a:fld id="{B6F15528-21DE-4FAA-801E-634DDDAF4B2B}" type="slidenum">
              <a:rPr lang="en-AU" smtClean="0"/>
              <a:t>37</a:t>
            </a:fld>
            <a:endParaRPr lang="en-AU"/>
          </a:p>
        </p:txBody>
      </p:sp>
    </p:spTree>
    <p:extLst>
      <p:ext uri="{BB962C8B-B14F-4D97-AF65-F5344CB8AC3E}">
        <p14:creationId xmlns:p14="http://schemas.microsoft.com/office/powerpoint/2010/main" val="40675907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AF5D8-AD79-015E-EB18-E7D6928F7114}"/>
              </a:ext>
            </a:extLst>
          </p:cNvPr>
          <p:cNvSpPr>
            <a:spLocks noGrp="1"/>
          </p:cNvSpPr>
          <p:nvPr>
            <p:ph type="title"/>
          </p:nvPr>
        </p:nvSpPr>
        <p:spPr>
          <a:xfrm>
            <a:off x="993491" y="820741"/>
            <a:ext cx="4477385" cy="430887"/>
          </a:xfrm>
        </p:spPr>
        <p:txBody>
          <a:bodyPr/>
          <a:lstStyle/>
          <a:p>
            <a:r>
              <a:rPr lang="en-AU" dirty="0"/>
              <a:t>Framework Kit Bag</a:t>
            </a:r>
          </a:p>
        </p:txBody>
      </p:sp>
      <p:pic>
        <p:nvPicPr>
          <p:cNvPr id="8" name="Picture 7">
            <a:extLst>
              <a:ext uri="{FF2B5EF4-FFF2-40B4-BE49-F238E27FC236}">
                <a16:creationId xmlns:a16="http://schemas.microsoft.com/office/drawing/2014/main" id="{B8C79B7D-D663-96DC-AB8E-C94AC205EBF4}"/>
              </a:ext>
            </a:extLst>
          </p:cNvPr>
          <p:cNvPicPr>
            <a:picLocks noChangeAspect="1"/>
          </p:cNvPicPr>
          <p:nvPr/>
        </p:nvPicPr>
        <p:blipFill>
          <a:blip r:embed="rId2"/>
          <a:stretch>
            <a:fillRect/>
          </a:stretch>
        </p:blipFill>
        <p:spPr>
          <a:xfrm>
            <a:off x="3656685" y="4596464"/>
            <a:ext cx="1831025" cy="1260000"/>
          </a:xfrm>
          <a:prstGeom prst="rect">
            <a:avLst/>
          </a:prstGeom>
        </p:spPr>
      </p:pic>
      <p:pic>
        <p:nvPicPr>
          <p:cNvPr id="10" name="Picture 9">
            <a:extLst>
              <a:ext uri="{FF2B5EF4-FFF2-40B4-BE49-F238E27FC236}">
                <a16:creationId xmlns:a16="http://schemas.microsoft.com/office/drawing/2014/main" id="{77F11DF3-BA0B-8202-328D-929075AACF0D}"/>
              </a:ext>
            </a:extLst>
          </p:cNvPr>
          <p:cNvPicPr>
            <a:picLocks noChangeAspect="1"/>
          </p:cNvPicPr>
          <p:nvPr/>
        </p:nvPicPr>
        <p:blipFill>
          <a:blip r:embed="rId3"/>
          <a:stretch>
            <a:fillRect/>
          </a:stretch>
        </p:blipFill>
        <p:spPr>
          <a:xfrm>
            <a:off x="5939136" y="3043699"/>
            <a:ext cx="1641500" cy="1260000"/>
          </a:xfrm>
          <a:prstGeom prst="rect">
            <a:avLst/>
          </a:prstGeom>
        </p:spPr>
      </p:pic>
      <p:pic>
        <p:nvPicPr>
          <p:cNvPr id="12" name="Picture 11">
            <a:extLst>
              <a:ext uri="{FF2B5EF4-FFF2-40B4-BE49-F238E27FC236}">
                <a16:creationId xmlns:a16="http://schemas.microsoft.com/office/drawing/2014/main" id="{95BBA922-9AD5-BB1B-D33C-B68BB71E5EE9}"/>
              </a:ext>
            </a:extLst>
          </p:cNvPr>
          <p:cNvPicPr>
            <a:picLocks noChangeAspect="1"/>
          </p:cNvPicPr>
          <p:nvPr/>
        </p:nvPicPr>
        <p:blipFill>
          <a:blip r:embed="rId4"/>
          <a:stretch>
            <a:fillRect/>
          </a:stretch>
        </p:blipFill>
        <p:spPr>
          <a:xfrm>
            <a:off x="6014193" y="1571150"/>
            <a:ext cx="1491385" cy="1260000"/>
          </a:xfrm>
          <a:prstGeom prst="rect">
            <a:avLst/>
          </a:prstGeom>
        </p:spPr>
      </p:pic>
      <p:pic>
        <p:nvPicPr>
          <p:cNvPr id="14" name="Picture 13">
            <a:extLst>
              <a:ext uri="{FF2B5EF4-FFF2-40B4-BE49-F238E27FC236}">
                <a16:creationId xmlns:a16="http://schemas.microsoft.com/office/drawing/2014/main" id="{DD4578AD-74AC-9896-1F62-7DF8450DB2BD}"/>
              </a:ext>
            </a:extLst>
          </p:cNvPr>
          <p:cNvPicPr>
            <a:picLocks noChangeAspect="1"/>
          </p:cNvPicPr>
          <p:nvPr/>
        </p:nvPicPr>
        <p:blipFill>
          <a:blip r:embed="rId5"/>
          <a:stretch>
            <a:fillRect/>
          </a:stretch>
        </p:blipFill>
        <p:spPr>
          <a:xfrm>
            <a:off x="6259836" y="4673150"/>
            <a:ext cx="1863680" cy="1260000"/>
          </a:xfrm>
          <a:prstGeom prst="rect">
            <a:avLst/>
          </a:prstGeom>
        </p:spPr>
      </p:pic>
      <p:pic>
        <p:nvPicPr>
          <p:cNvPr id="16" name="Picture 15">
            <a:extLst>
              <a:ext uri="{FF2B5EF4-FFF2-40B4-BE49-F238E27FC236}">
                <a16:creationId xmlns:a16="http://schemas.microsoft.com/office/drawing/2014/main" id="{58131529-7D9F-856F-75A9-191D71EA3063}"/>
              </a:ext>
            </a:extLst>
          </p:cNvPr>
          <p:cNvPicPr>
            <a:picLocks noChangeAspect="1"/>
          </p:cNvPicPr>
          <p:nvPr/>
        </p:nvPicPr>
        <p:blipFill>
          <a:blip r:embed="rId6"/>
          <a:stretch>
            <a:fillRect/>
          </a:stretch>
        </p:blipFill>
        <p:spPr>
          <a:xfrm>
            <a:off x="1035793" y="3096469"/>
            <a:ext cx="1782445" cy="1260000"/>
          </a:xfrm>
          <a:prstGeom prst="rect">
            <a:avLst/>
          </a:prstGeom>
        </p:spPr>
      </p:pic>
      <p:pic>
        <p:nvPicPr>
          <p:cNvPr id="18" name="Picture 17">
            <a:extLst>
              <a:ext uri="{FF2B5EF4-FFF2-40B4-BE49-F238E27FC236}">
                <a16:creationId xmlns:a16="http://schemas.microsoft.com/office/drawing/2014/main" id="{B4A1269B-E89A-4101-4706-177D6EB608EE}"/>
              </a:ext>
            </a:extLst>
          </p:cNvPr>
          <p:cNvPicPr>
            <a:picLocks noChangeAspect="1"/>
          </p:cNvPicPr>
          <p:nvPr/>
        </p:nvPicPr>
        <p:blipFill>
          <a:blip r:embed="rId7"/>
          <a:stretch>
            <a:fillRect/>
          </a:stretch>
        </p:blipFill>
        <p:spPr>
          <a:xfrm>
            <a:off x="3673521" y="3139991"/>
            <a:ext cx="1797355" cy="1260000"/>
          </a:xfrm>
          <a:prstGeom prst="rect">
            <a:avLst/>
          </a:prstGeom>
        </p:spPr>
      </p:pic>
      <p:pic>
        <p:nvPicPr>
          <p:cNvPr id="20" name="Picture 19">
            <a:extLst>
              <a:ext uri="{FF2B5EF4-FFF2-40B4-BE49-F238E27FC236}">
                <a16:creationId xmlns:a16="http://schemas.microsoft.com/office/drawing/2014/main" id="{D0BF880A-804F-AE3E-6C58-8A3A8118ED4D}"/>
              </a:ext>
            </a:extLst>
          </p:cNvPr>
          <p:cNvPicPr>
            <a:picLocks noChangeAspect="1"/>
          </p:cNvPicPr>
          <p:nvPr/>
        </p:nvPicPr>
        <p:blipFill>
          <a:blip r:embed="rId8"/>
          <a:stretch>
            <a:fillRect/>
          </a:stretch>
        </p:blipFill>
        <p:spPr>
          <a:xfrm>
            <a:off x="3493994" y="1559053"/>
            <a:ext cx="1815870" cy="1260000"/>
          </a:xfrm>
          <a:prstGeom prst="rect">
            <a:avLst/>
          </a:prstGeom>
        </p:spPr>
      </p:pic>
      <p:pic>
        <p:nvPicPr>
          <p:cNvPr id="22" name="Picture 21">
            <a:extLst>
              <a:ext uri="{FF2B5EF4-FFF2-40B4-BE49-F238E27FC236}">
                <a16:creationId xmlns:a16="http://schemas.microsoft.com/office/drawing/2014/main" id="{6EE194FB-0FE5-13D4-8D7F-261BFD87480C}"/>
              </a:ext>
            </a:extLst>
          </p:cNvPr>
          <p:cNvPicPr>
            <a:picLocks noChangeAspect="1"/>
          </p:cNvPicPr>
          <p:nvPr/>
        </p:nvPicPr>
        <p:blipFill>
          <a:blip r:embed="rId9"/>
          <a:stretch>
            <a:fillRect/>
          </a:stretch>
        </p:blipFill>
        <p:spPr>
          <a:xfrm>
            <a:off x="8652367" y="4665514"/>
            <a:ext cx="1386700" cy="1260000"/>
          </a:xfrm>
          <a:prstGeom prst="rect">
            <a:avLst/>
          </a:prstGeom>
        </p:spPr>
      </p:pic>
      <p:pic>
        <p:nvPicPr>
          <p:cNvPr id="24" name="Picture 23">
            <a:extLst>
              <a:ext uri="{FF2B5EF4-FFF2-40B4-BE49-F238E27FC236}">
                <a16:creationId xmlns:a16="http://schemas.microsoft.com/office/drawing/2014/main" id="{CE615C7E-CAFB-F13B-C48D-F2E297415DF0}"/>
              </a:ext>
            </a:extLst>
          </p:cNvPr>
          <p:cNvPicPr>
            <a:picLocks noChangeAspect="1"/>
          </p:cNvPicPr>
          <p:nvPr/>
        </p:nvPicPr>
        <p:blipFill>
          <a:blip r:embed="rId10"/>
          <a:stretch>
            <a:fillRect/>
          </a:stretch>
        </p:blipFill>
        <p:spPr>
          <a:xfrm>
            <a:off x="8123516" y="3154792"/>
            <a:ext cx="2093420" cy="1260000"/>
          </a:xfrm>
          <a:prstGeom prst="rect">
            <a:avLst/>
          </a:prstGeom>
        </p:spPr>
      </p:pic>
      <p:pic>
        <p:nvPicPr>
          <p:cNvPr id="26" name="Picture 25">
            <a:extLst>
              <a:ext uri="{FF2B5EF4-FFF2-40B4-BE49-F238E27FC236}">
                <a16:creationId xmlns:a16="http://schemas.microsoft.com/office/drawing/2014/main" id="{11E104C4-9BBB-FE2B-83F8-4B5C962ED23A}"/>
              </a:ext>
            </a:extLst>
          </p:cNvPr>
          <p:cNvPicPr>
            <a:picLocks noChangeAspect="1"/>
          </p:cNvPicPr>
          <p:nvPr/>
        </p:nvPicPr>
        <p:blipFill>
          <a:blip r:embed="rId11"/>
          <a:stretch>
            <a:fillRect/>
          </a:stretch>
        </p:blipFill>
        <p:spPr>
          <a:xfrm>
            <a:off x="1035398" y="4540433"/>
            <a:ext cx="1608670" cy="1260000"/>
          </a:xfrm>
          <a:prstGeom prst="rect">
            <a:avLst/>
          </a:prstGeom>
        </p:spPr>
      </p:pic>
      <p:pic>
        <p:nvPicPr>
          <p:cNvPr id="28" name="Picture 27">
            <a:extLst>
              <a:ext uri="{FF2B5EF4-FFF2-40B4-BE49-F238E27FC236}">
                <a16:creationId xmlns:a16="http://schemas.microsoft.com/office/drawing/2014/main" id="{FC1DCAF2-B81B-C840-73D0-D496D5D5E691}"/>
              </a:ext>
            </a:extLst>
          </p:cNvPr>
          <p:cNvPicPr>
            <a:picLocks noChangeAspect="1"/>
          </p:cNvPicPr>
          <p:nvPr/>
        </p:nvPicPr>
        <p:blipFill>
          <a:blip r:embed="rId12"/>
          <a:stretch>
            <a:fillRect/>
          </a:stretch>
        </p:blipFill>
        <p:spPr>
          <a:xfrm>
            <a:off x="3699950" y="6122568"/>
            <a:ext cx="1646750" cy="1260000"/>
          </a:xfrm>
          <a:prstGeom prst="rect">
            <a:avLst/>
          </a:prstGeom>
        </p:spPr>
      </p:pic>
      <p:pic>
        <p:nvPicPr>
          <p:cNvPr id="32" name="Picture 31">
            <a:extLst>
              <a:ext uri="{FF2B5EF4-FFF2-40B4-BE49-F238E27FC236}">
                <a16:creationId xmlns:a16="http://schemas.microsoft.com/office/drawing/2014/main" id="{5CEBBA76-5A85-EE16-587F-7536766C1E22}"/>
              </a:ext>
            </a:extLst>
          </p:cNvPr>
          <p:cNvPicPr>
            <a:picLocks noChangeAspect="1"/>
          </p:cNvPicPr>
          <p:nvPr/>
        </p:nvPicPr>
        <p:blipFill>
          <a:blip r:embed="rId13"/>
          <a:stretch>
            <a:fillRect/>
          </a:stretch>
        </p:blipFill>
        <p:spPr>
          <a:xfrm>
            <a:off x="900625" y="1540506"/>
            <a:ext cx="1608845" cy="1260000"/>
          </a:xfrm>
          <a:prstGeom prst="rect">
            <a:avLst/>
          </a:prstGeom>
        </p:spPr>
      </p:pic>
      <p:pic>
        <p:nvPicPr>
          <p:cNvPr id="34" name="Picture 33">
            <a:extLst>
              <a:ext uri="{FF2B5EF4-FFF2-40B4-BE49-F238E27FC236}">
                <a16:creationId xmlns:a16="http://schemas.microsoft.com/office/drawing/2014/main" id="{D8BE7F84-8B58-A155-7348-52C8F6B64B87}"/>
              </a:ext>
            </a:extLst>
          </p:cNvPr>
          <p:cNvPicPr>
            <a:picLocks noChangeAspect="1"/>
          </p:cNvPicPr>
          <p:nvPr/>
        </p:nvPicPr>
        <p:blipFill>
          <a:blip r:embed="rId14"/>
          <a:stretch>
            <a:fillRect/>
          </a:stretch>
        </p:blipFill>
        <p:spPr>
          <a:xfrm>
            <a:off x="1035398" y="6107026"/>
            <a:ext cx="1746570" cy="1260000"/>
          </a:xfrm>
          <a:prstGeom prst="rect">
            <a:avLst/>
          </a:prstGeom>
        </p:spPr>
      </p:pic>
      <p:pic>
        <p:nvPicPr>
          <p:cNvPr id="36" name="Picture 35">
            <a:extLst>
              <a:ext uri="{FF2B5EF4-FFF2-40B4-BE49-F238E27FC236}">
                <a16:creationId xmlns:a16="http://schemas.microsoft.com/office/drawing/2014/main" id="{D22D38B4-570B-FDD9-418B-F800531E1C6F}"/>
              </a:ext>
            </a:extLst>
          </p:cNvPr>
          <p:cNvPicPr>
            <a:picLocks noChangeAspect="1"/>
          </p:cNvPicPr>
          <p:nvPr/>
        </p:nvPicPr>
        <p:blipFill>
          <a:blip r:embed="rId15"/>
          <a:stretch>
            <a:fillRect/>
          </a:stretch>
        </p:blipFill>
        <p:spPr>
          <a:xfrm>
            <a:off x="6014193" y="6128455"/>
            <a:ext cx="1686685" cy="1260000"/>
          </a:xfrm>
          <a:prstGeom prst="rect">
            <a:avLst/>
          </a:prstGeom>
        </p:spPr>
      </p:pic>
      <p:pic>
        <p:nvPicPr>
          <p:cNvPr id="38" name="Picture 37">
            <a:extLst>
              <a:ext uri="{FF2B5EF4-FFF2-40B4-BE49-F238E27FC236}">
                <a16:creationId xmlns:a16="http://schemas.microsoft.com/office/drawing/2014/main" id="{05A790F6-7887-52E1-F6CF-9D83219A1A86}"/>
              </a:ext>
            </a:extLst>
          </p:cNvPr>
          <p:cNvPicPr>
            <a:picLocks noChangeAspect="1"/>
          </p:cNvPicPr>
          <p:nvPr/>
        </p:nvPicPr>
        <p:blipFill>
          <a:blip r:embed="rId16"/>
          <a:stretch>
            <a:fillRect/>
          </a:stretch>
        </p:blipFill>
        <p:spPr>
          <a:xfrm>
            <a:off x="8521957" y="6122568"/>
            <a:ext cx="1647520" cy="1260000"/>
          </a:xfrm>
          <a:prstGeom prst="rect">
            <a:avLst/>
          </a:prstGeom>
        </p:spPr>
      </p:pic>
      <p:pic>
        <p:nvPicPr>
          <p:cNvPr id="40" name="Picture 39">
            <a:extLst>
              <a:ext uri="{FF2B5EF4-FFF2-40B4-BE49-F238E27FC236}">
                <a16:creationId xmlns:a16="http://schemas.microsoft.com/office/drawing/2014/main" id="{4C11E605-E27A-E3C7-E61D-96E29F50E28B}"/>
              </a:ext>
            </a:extLst>
          </p:cNvPr>
          <p:cNvPicPr>
            <a:picLocks noChangeAspect="1"/>
          </p:cNvPicPr>
          <p:nvPr/>
        </p:nvPicPr>
        <p:blipFill>
          <a:blip r:embed="rId17"/>
          <a:stretch>
            <a:fillRect/>
          </a:stretch>
        </p:blipFill>
        <p:spPr>
          <a:xfrm>
            <a:off x="8383138" y="1574302"/>
            <a:ext cx="1716995" cy="1260000"/>
          </a:xfrm>
          <a:prstGeom prst="rect">
            <a:avLst/>
          </a:prstGeom>
        </p:spPr>
      </p:pic>
      <p:sp>
        <p:nvSpPr>
          <p:cNvPr id="3" name="Slide Number Placeholder 2">
            <a:extLst>
              <a:ext uri="{FF2B5EF4-FFF2-40B4-BE49-F238E27FC236}">
                <a16:creationId xmlns:a16="http://schemas.microsoft.com/office/drawing/2014/main" id="{C686E630-A506-182B-DDCE-E4F7E15CC5EF}"/>
              </a:ext>
            </a:extLst>
          </p:cNvPr>
          <p:cNvSpPr>
            <a:spLocks noGrp="1"/>
          </p:cNvSpPr>
          <p:nvPr>
            <p:ph type="sldNum" sz="quarter" idx="7"/>
          </p:nvPr>
        </p:nvSpPr>
        <p:spPr>
          <a:xfrm>
            <a:off x="7940485" y="7054850"/>
            <a:ext cx="2459482" cy="377825"/>
          </a:xfrm>
        </p:spPr>
        <p:txBody>
          <a:bodyPr/>
          <a:lstStyle/>
          <a:p>
            <a:fld id="{B6F15528-21DE-4FAA-801E-634DDDAF4B2B}" type="slidenum">
              <a:rPr lang="en-AU" smtClean="0"/>
              <a:t>38</a:t>
            </a:fld>
            <a:endParaRPr lang="en-AU" dirty="0"/>
          </a:p>
        </p:txBody>
      </p:sp>
    </p:spTree>
    <p:extLst>
      <p:ext uri="{BB962C8B-B14F-4D97-AF65-F5344CB8AC3E}">
        <p14:creationId xmlns:p14="http://schemas.microsoft.com/office/powerpoint/2010/main" val="11698310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184967" y="2305252"/>
            <a:ext cx="2078989" cy="4825798"/>
          </a:xfrm>
          <a:custGeom>
            <a:avLst/>
            <a:gdLst/>
            <a:ahLst/>
            <a:cxnLst/>
            <a:rect l="l" t="t" r="r" b="b"/>
            <a:pathLst>
              <a:path w="2078989" h="4334509">
                <a:moveTo>
                  <a:pt x="1982876" y="0"/>
                </a:moveTo>
                <a:lnTo>
                  <a:pt x="95783" y="0"/>
                </a:lnTo>
                <a:lnTo>
                  <a:pt x="58501" y="7527"/>
                </a:lnTo>
                <a:lnTo>
                  <a:pt x="28055" y="28055"/>
                </a:lnTo>
                <a:lnTo>
                  <a:pt x="7527" y="58501"/>
                </a:lnTo>
                <a:lnTo>
                  <a:pt x="0" y="95783"/>
                </a:lnTo>
                <a:lnTo>
                  <a:pt x="0" y="4238307"/>
                </a:lnTo>
                <a:lnTo>
                  <a:pt x="7527" y="4275588"/>
                </a:lnTo>
                <a:lnTo>
                  <a:pt x="28055" y="4306035"/>
                </a:lnTo>
                <a:lnTo>
                  <a:pt x="58501" y="4326563"/>
                </a:lnTo>
                <a:lnTo>
                  <a:pt x="95783" y="4334090"/>
                </a:lnTo>
                <a:lnTo>
                  <a:pt x="1982876" y="4334090"/>
                </a:lnTo>
                <a:lnTo>
                  <a:pt x="2020157" y="4326563"/>
                </a:lnTo>
                <a:lnTo>
                  <a:pt x="2050603" y="4306035"/>
                </a:lnTo>
                <a:lnTo>
                  <a:pt x="2071132" y="4275588"/>
                </a:lnTo>
                <a:lnTo>
                  <a:pt x="2078659" y="4238307"/>
                </a:lnTo>
                <a:lnTo>
                  <a:pt x="2078659" y="95783"/>
                </a:lnTo>
                <a:lnTo>
                  <a:pt x="2071132" y="58501"/>
                </a:lnTo>
                <a:lnTo>
                  <a:pt x="2050603" y="28055"/>
                </a:lnTo>
                <a:lnTo>
                  <a:pt x="2020157" y="7527"/>
                </a:lnTo>
                <a:lnTo>
                  <a:pt x="1982876" y="0"/>
                </a:lnTo>
                <a:close/>
              </a:path>
            </a:pathLst>
          </a:custGeom>
          <a:solidFill>
            <a:srgbClr val="EAE7E4"/>
          </a:solidFill>
        </p:spPr>
        <p:txBody>
          <a:bodyPr wrap="square" lIns="0" tIns="0" rIns="0" bIns="0" rtlCol="0"/>
          <a:lstStyle/>
          <a:p>
            <a:endParaRPr/>
          </a:p>
        </p:txBody>
      </p:sp>
      <p:sp>
        <p:nvSpPr>
          <p:cNvPr id="4" name="object 4"/>
          <p:cNvSpPr txBox="1"/>
          <p:nvPr/>
        </p:nvSpPr>
        <p:spPr>
          <a:xfrm>
            <a:off x="1326319" y="2382520"/>
            <a:ext cx="1361440" cy="444500"/>
          </a:xfrm>
          <a:prstGeom prst="rect">
            <a:avLst/>
          </a:prstGeom>
        </p:spPr>
        <p:txBody>
          <a:bodyPr vert="horz" wrap="square" lIns="0" tIns="81280" rIns="0" bIns="0" rtlCol="0">
            <a:spAutoFit/>
          </a:bodyPr>
          <a:lstStyle/>
          <a:p>
            <a:pPr marL="12700">
              <a:lnSpc>
                <a:spcPct val="100000"/>
              </a:lnSpc>
              <a:spcBef>
                <a:spcPts val="640"/>
              </a:spcBef>
            </a:pPr>
            <a:r>
              <a:rPr sz="1200" b="1">
                <a:solidFill>
                  <a:srgbClr val="2E3841"/>
                </a:solidFill>
                <a:latin typeface="Montserrat"/>
                <a:cs typeface="Montserrat"/>
              </a:rPr>
              <a:t>FIRST</a:t>
            </a:r>
            <a:r>
              <a:rPr sz="1200" b="1" spc="275">
                <a:solidFill>
                  <a:srgbClr val="2E3841"/>
                </a:solidFill>
                <a:latin typeface="Montserrat"/>
                <a:cs typeface="Montserrat"/>
              </a:rPr>
              <a:t> </a:t>
            </a:r>
            <a:r>
              <a:rPr sz="1200" spc="-10">
                <a:solidFill>
                  <a:srgbClr val="2E3841"/>
                </a:solidFill>
                <a:latin typeface="Montserrat"/>
                <a:cs typeface="Montserrat"/>
              </a:rPr>
              <a:t>QUARTER</a:t>
            </a:r>
            <a:endParaRPr sz="1200">
              <a:latin typeface="Montserrat"/>
              <a:cs typeface="Montserrat"/>
            </a:endParaRPr>
          </a:p>
          <a:p>
            <a:pPr marL="12700">
              <a:lnSpc>
                <a:spcPct val="100000"/>
              </a:lnSpc>
              <a:spcBef>
                <a:spcPts val="360"/>
              </a:spcBef>
            </a:pPr>
            <a:r>
              <a:rPr sz="800" b="1" spc="-10">
                <a:solidFill>
                  <a:srgbClr val="B68150"/>
                </a:solidFill>
                <a:latin typeface="Montserrat"/>
                <a:cs typeface="Montserrat"/>
              </a:rPr>
              <a:t>March</a:t>
            </a:r>
            <a:r>
              <a:rPr lang="en-AU" sz="800" b="1" spc="-10">
                <a:solidFill>
                  <a:srgbClr val="B68150"/>
                </a:solidFill>
                <a:latin typeface="Montserrat"/>
                <a:cs typeface="Montserrat"/>
              </a:rPr>
              <a:t> to May</a:t>
            </a:r>
            <a:endParaRPr sz="800">
              <a:latin typeface="Montserrat"/>
              <a:cs typeface="Montserrat"/>
            </a:endParaRPr>
          </a:p>
        </p:txBody>
      </p:sp>
      <p:sp>
        <p:nvSpPr>
          <p:cNvPr id="5" name="object 5"/>
          <p:cNvSpPr txBox="1">
            <a:spLocks noGrp="1"/>
          </p:cNvSpPr>
          <p:nvPr>
            <p:ph type="title"/>
          </p:nvPr>
        </p:nvSpPr>
        <p:spPr>
          <a:prstGeom prst="rect">
            <a:avLst/>
          </a:prstGeom>
        </p:spPr>
        <p:txBody>
          <a:bodyPr vert="horz" wrap="square" lIns="0" tIns="12700" rIns="0" bIns="0" rtlCol="0">
            <a:spAutoFit/>
          </a:bodyPr>
          <a:lstStyle/>
          <a:p>
            <a:pPr marL="42545">
              <a:lnSpc>
                <a:spcPct val="100000"/>
              </a:lnSpc>
              <a:spcBef>
                <a:spcPts val="100"/>
              </a:spcBef>
            </a:pPr>
            <a:r>
              <a:rPr lang="en-AU">
                <a:solidFill>
                  <a:srgbClr val="FF0000"/>
                </a:solidFill>
              </a:rPr>
              <a:t>DRAFT</a:t>
            </a:r>
            <a:r>
              <a:rPr lang="en-AU"/>
              <a:t> </a:t>
            </a:r>
            <a:r>
              <a:t>12 Month </a:t>
            </a:r>
            <a:r>
              <a:rPr spc="-20"/>
              <a:t>Plan</a:t>
            </a:r>
          </a:p>
          <a:p>
            <a:pPr marL="42545" marR="5080">
              <a:lnSpc>
                <a:spcPct val="122500"/>
              </a:lnSpc>
              <a:spcBef>
                <a:spcPts val="565"/>
              </a:spcBef>
            </a:pPr>
            <a:r>
              <a:rPr sz="900" b="0" i="1">
                <a:solidFill>
                  <a:srgbClr val="000000"/>
                </a:solidFill>
                <a:latin typeface="Montserrat"/>
                <a:cs typeface="Montserrat"/>
              </a:rPr>
              <a:t>This</a:t>
            </a:r>
            <a:r>
              <a:rPr sz="900" b="0" i="1" spc="-30">
                <a:solidFill>
                  <a:srgbClr val="000000"/>
                </a:solidFill>
                <a:latin typeface="Montserrat"/>
                <a:cs typeface="Montserrat"/>
              </a:rPr>
              <a:t> </a:t>
            </a:r>
            <a:r>
              <a:rPr sz="900" b="0" i="1">
                <a:solidFill>
                  <a:srgbClr val="000000"/>
                </a:solidFill>
                <a:latin typeface="Montserrat"/>
                <a:cs typeface="Montserrat"/>
              </a:rPr>
              <a:t>document</a:t>
            </a:r>
            <a:r>
              <a:rPr sz="900" b="0" i="1" spc="-25">
                <a:solidFill>
                  <a:srgbClr val="000000"/>
                </a:solidFill>
                <a:latin typeface="Montserrat"/>
                <a:cs typeface="Montserrat"/>
              </a:rPr>
              <a:t> </a:t>
            </a:r>
            <a:r>
              <a:rPr lang="en-AU" sz="900" b="0" i="1">
                <a:solidFill>
                  <a:srgbClr val="000000"/>
                </a:solidFill>
                <a:latin typeface="Montserrat"/>
                <a:cs typeface="Montserrat"/>
              </a:rPr>
              <a:t>is a draft</a:t>
            </a:r>
            <a:r>
              <a:rPr sz="900" b="0" i="1" spc="-15">
                <a:solidFill>
                  <a:srgbClr val="000000"/>
                </a:solidFill>
                <a:latin typeface="Montserrat"/>
                <a:cs typeface="Montserrat"/>
              </a:rPr>
              <a:t> </a:t>
            </a:r>
            <a:r>
              <a:rPr sz="900" b="0" i="1">
                <a:solidFill>
                  <a:srgbClr val="000000"/>
                </a:solidFill>
                <a:latin typeface="Montserrat"/>
                <a:cs typeface="Montserrat"/>
              </a:rPr>
              <a:t>12</a:t>
            </a:r>
            <a:r>
              <a:rPr sz="900" b="0" i="1" spc="-15">
                <a:solidFill>
                  <a:srgbClr val="000000"/>
                </a:solidFill>
                <a:latin typeface="Montserrat"/>
                <a:cs typeface="Montserrat"/>
              </a:rPr>
              <a:t> </a:t>
            </a:r>
            <a:r>
              <a:rPr sz="900" b="0" i="1">
                <a:solidFill>
                  <a:srgbClr val="000000"/>
                </a:solidFill>
                <a:latin typeface="Montserrat"/>
                <a:cs typeface="Montserrat"/>
              </a:rPr>
              <a:t>Month</a:t>
            </a:r>
            <a:r>
              <a:rPr sz="900" b="0" i="1" spc="-10">
                <a:solidFill>
                  <a:srgbClr val="000000"/>
                </a:solidFill>
                <a:latin typeface="Montserrat"/>
                <a:cs typeface="Montserrat"/>
              </a:rPr>
              <a:t> </a:t>
            </a:r>
            <a:r>
              <a:rPr sz="900" b="0" i="1">
                <a:solidFill>
                  <a:srgbClr val="000000"/>
                </a:solidFill>
                <a:latin typeface="Montserrat"/>
                <a:cs typeface="Montserrat"/>
              </a:rPr>
              <a:t>Game</a:t>
            </a:r>
            <a:r>
              <a:rPr sz="900" b="0" i="1" spc="-20">
                <a:solidFill>
                  <a:srgbClr val="000000"/>
                </a:solidFill>
                <a:latin typeface="Montserrat"/>
                <a:cs typeface="Montserrat"/>
              </a:rPr>
              <a:t> </a:t>
            </a:r>
            <a:r>
              <a:rPr sz="900" b="0" i="1">
                <a:solidFill>
                  <a:srgbClr val="000000"/>
                </a:solidFill>
                <a:latin typeface="Montserrat"/>
                <a:cs typeface="Montserrat"/>
              </a:rPr>
              <a:t>Plan.</a:t>
            </a:r>
            <a:r>
              <a:rPr sz="900" b="0" i="1" spc="-20">
                <a:solidFill>
                  <a:srgbClr val="000000"/>
                </a:solidFill>
                <a:latin typeface="Montserrat"/>
                <a:cs typeface="Montserrat"/>
              </a:rPr>
              <a:t> </a:t>
            </a:r>
            <a:r>
              <a:rPr sz="900" b="0" i="1">
                <a:solidFill>
                  <a:srgbClr val="000000"/>
                </a:solidFill>
                <a:latin typeface="Montserrat"/>
                <a:cs typeface="Montserrat"/>
              </a:rPr>
              <a:t>It</a:t>
            </a:r>
            <a:r>
              <a:rPr sz="900" b="0" i="1" spc="-20">
                <a:solidFill>
                  <a:srgbClr val="000000"/>
                </a:solidFill>
                <a:latin typeface="Montserrat"/>
                <a:cs typeface="Montserrat"/>
              </a:rPr>
              <a:t> </a:t>
            </a:r>
            <a:r>
              <a:rPr sz="900" b="0" i="1">
                <a:solidFill>
                  <a:srgbClr val="000000"/>
                </a:solidFill>
                <a:latin typeface="Montserrat"/>
                <a:cs typeface="Montserrat"/>
              </a:rPr>
              <a:t>is</a:t>
            </a:r>
            <a:r>
              <a:rPr sz="900" b="0" i="1" spc="-20">
                <a:solidFill>
                  <a:srgbClr val="000000"/>
                </a:solidFill>
                <a:latin typeface="Montserrat"/>
                <a:cs typeface="Montserrat"/>
              </a:rPr>
              <a:t> </a:t>
            </a:r>
            <a:r>
              <a:rPr sz="900" b="0" i="1">
                <a:solidFill>
                  <a:srgbClr val="000000"/>
                </a:solidFill>
                <a:latin typeface="Montserrat"/>
                <a:cs typeface="Montserrat"/>
              </a:rPr>
              <a:t>intended</a:t>
            </a:r>
            <a:r>
              <a:rPr sz="900" b="0" i="1" spc="-15">
                <a:solidFill>
                  <a:srgbClr val="000000"/>
                </a:solidFill>
                <a:latin typeface="Montserrat"/>
                <a:cs typeface="Montserrat"/>
              </a:rPr>
              <a:t> </a:t>
            </a:r>
            <a:r>
              <a:rPr sz="900" b="0" i="1">
                <a:solidFill>
                  <a:srgbClr val="000000"/>
                </a:solidFill>
                <a:latin typeface="Montserrat"/>
                <a:cs typeface="Montserrat"/>
              </a:rPr>
              <a:t>to</a:t>
            </a:r>
            <a:r>
              <a:rPr sz="900" b="0" i="1" spc="-15">
                <a:solidFill>
                  <a:srgbClr val="000000"/>
                </a:solidFill>
                <a:latin typeface="Montserrat"/>
                <a:cs typeface="Montserrat"/>
              </a:rPr>
              <a:t> </a:t>
            </a:r>
            <a:r>
              <a:rPr sz="900" b="0" i="1">
                <a:solidFill>
                  <a:srgbClr val="000000"/>
                </a:solidFill>
                <a:latin typeface="Montserrat"/>
                <a:cs typeface="Montserrat"/>
              </a:rPr>
              <a:t>provide</a:t>
            </a:r>
            <a:r>
              <a:rPr sz="900" b="0" i="1" spc="-20">
                <a:solidFill>
                  <a:srgbClr val="000000"/>
                </a:solidFill>
                <a:latin typeface="Montserrat"/>
                <a:cs typeface="Montserrat"/>
              </a:rPr>
              <a:t> </a:t>
            </a:r>
            <a:r>
              <a:rPr sz="900" b="0" i="1">
                <a:solidFill>
                  <a:srgbClr val="000000"/>
                </a:solidFill>
                <a:latin typeface="Montserrat"/>
                <a:cs typeface="Montserrat"/>
              </a:rPr>
              <a:t>an</a:t>
            </a:r>
            <a:r>
              <a:rPr sz="900" b="0" i="1" spc="-10">
                <a:solidFill>
                  <a:srgbClr val="000000"/>
                </a:solidFill>
                <a:latin typeface="Montserrat"/>
                <a:cs typeface="Montserrat"/>
              </a:rPr>
              <a:t> </a:t>
            </a:r>
            <a:r>
              <a:rPr sz="900" b="0" i="1">
                <a:solidFill>
                  <a:srgbClr val="000000"/>
                </a:solidFill>
                <a:latin typeface="Montserrat"/>
                <a:cs typeface="Montserrat"/>
              </a:rPr>
              <a:t>overview</a:t>
            </a:r>
            <a:r>
              <a:rPr sz="900" b="0" i="1" spc="-20">
                <a:solidFill>
                  <a:srgbClr val="000000"/>
                </a:solidFill>
                <a:latin typeface="Montserrat"/>
                <a:cs typeface="Montserrat"/>
              </a:rPr>
              <a:t> </a:t>
            </a:r>
            <a:r>
              <a:rPr sz="900" b="0" i="1">
                <a:solidFill>
                  <a:srgbClr val="000000"/>
                </a:solidFill>
                <a:latin typeface="Montserrat"/>
                <a:cs typeface="Montserrat"/>
              </a:rPr>
              <a:t>of</a:t>
            </a:r>
            <a:r>
              <a:rPr sz="900" b="0" i="1" spc="-20">
                <a:solidFill>
                  <a:srgbClr val="000000"/>
                </a:solidFill>
                <a:latin typeface="Montserrat"/>
                <a:cs typeface="Montserrat"/>
              </a:rPr>
              <a:t> </a:t>
            </a:r>
            <a:r>
              <a:rPr sz="900" b="0" i="1">
                <a:solidFill>
                  <a:srgbClr val="000000"/>
                </a:solidFill>
                <a:latin typeface="Montserrat"/>
                <a:cs typeface="Montserrat"/>
              </a:rPr>
              <a:t>the</a:t>
            </a:r>
            <a:r>
              <a:rPr sz="900" b="0" i="1" spc="-20">
                <a:solidFill>
                  <a:srgbClr val="000000"/>
                </a:solidFill>
                <a:latin typeface="Montserrat"/>
                <a:cs typeface="Montserrat"/>
              </a:rPr>
              <a:t> </a:t>
            </a:r>
            <a:r>
              <a:rPr sz="900" b="0" i="1">
                <a:solidFill>
                  <a:srgbClr val="000000"/>
                </a:solidFill>
                <a:latin typeface="Montserrat"/>
                <a:cs typeface="Montserrat"/>
              </a:rPr>
              <a:t>areas</a:t>
            </a:r>
            <a:r>
              <a:rPr sz="900" b="0" i="1" spc="-20">
                <a:solidFill>
                  <a:srgbClr val="000000"/>
                </a:solidFill>
                <a:latin typeface="Montserrat"/>
                <a:cs typeface="Montserrat"/>
              </a:rPr>
              <a:t> </a:t>
            </a:r>
            <a:r>
              <a:rPr sz="900" b="0" i="1">
                <a:solidFill>
                  <a:srgbClr val="000000"/>
                </a:solidFill>
                <a:latin typeface="Montserrat"/>
                <a:cs typeface="Montserrat"/>
              </a:rPr>
              <a:t>in</a:t>
            </a:r>
            <a:r>
              <a:rPr sz="900" b="0" i="1" spc="-10">
                <a:solidFill>
                  <a:srgbClr val="000000"/>
                </a:solidFill>
                <a:latin typeface="Montserrat"/>
                <a:cs typeface="Montserrat"/>
              </a:rPr>
              <a:t> </a:t>
            </a:r>
            <a:r>
              <a:rPr sz="900" b="0" i="1">
                <a:solidFill>
                  <a:srgbClr val="000000"/>
                </a:solidFill>
                <a:latin typeface="Montserrat"/>
                <a:cs typeface="Montserrat"/>
              </a:rPr>
              <a:t>which</a:t>
            </a:r>
            <a:r>
              <a:rPr sz="900" b="0" i="1" spc="-10">
                <a:solidFill>
                  <a:srgbClr val="000000"/>
                </a:solidFill>
                <a:latin typeface="Montserrat"/>
                <a:cs typeface="Montserrat"/>
              </a:rPr>
              <a:t> </a:t>
            </a:r>
            <a:r>
              <a:rPr sz="900" b="0" i="1">
                <a:solidFill>
                  <a:srgbClr val="000000"/>
                </a:solidFill>
                <a:latin typeface="Montserrat"/>
                <a:cs typeface="Montserrat"/>
              </a:rPr>
              <a:t>we</a:t>
            </a:r>
            <a:r>
              <a:rPr sz="900" b="0" i="1" spc="-20">
                <a:solidFill>
                  <a:srgbClr val="000000"/>
                </a:solidFill>
                <a:latin typeface="Montserrat"/>
                <a:cs typeface="Montserrat"/>
              </a:rPr>
              <a:t> </a:t>
            </a:r>
            <a:r>
              <a:rPr sz="900" b="0" i="1">
                <a:solidFill>
                  <a:srgbClr val="000000"/>
                </a:solidFill>
                <a:latin typeface="Montserrat"/>
                <a:cs typeface="Montserrat"/>
              </a:rPr>
              <a:t>will</a:t>
            </a:r>
            <a:r>
              <a:rPr sz="900" b="0" i="1" spc="-30">
                <a:solidFill>
                  <a:srgbClr val="000000"/>
                </a:solidFill>
                <a:latin typeface="Montserrat"/>
                <a:cs typeface="Montserrat"/>
              </a:rPr>
              <a:t> </a:t>
            </a:r>
            <a:r>
              <a:rPr sz="900" b="0" i="1">
                <a:solidFill>
                  <a:srgbClr val="000000"/>
                </a:solidFill>
                <a:latin typeface="Montserrat"/>
                <a:cs typeface="Montserrat"/>
              </a:rPr>
              <a:t>be</a:t>
            </a:r>
            <a:r>
              <a:rPr sz="900" b="0" i="1" spc="-20">
                <a:solidFill>
                  <a:srgbClr val="000000"/>
                </a:solidFill>
                <a:latin typeface="Montserrat"/>
                <a:cs typeface="Montserrat"/>
              </a:rPr>
              <a:t> </a:t>
            </a:r>
            <a:r>
              <a:rPr sz="900" b="0" i="1" spc="-10">
                <a:solidFill>
                  <a:srgbClr val="000000"/>
                </a:solidFill>
                <a:latin typeface="Montserrat"/>
                <a:cs typeface="Montserrat"/>
              </a:rPr>
              <a:t>focusing</a:t>
            </a:r>
            <a:r>
              <a:rPr sz="900" b="0" i="1" spc="-20">
                <a:solidFill>
                  <a:srgbClr val="000000"/>
                </a:solidFill>
                <a:latin typeface="Montserrat"/>
                <a:cs typeface="Montserrat"/>
              </a:rPr>
              <a:t> </a:t>
            </a:r>
            <a:r>
              <a:rPr sz="900" b="0" i="1">
                <a:solidFill>
                  <a:srgbClr val="000000"/>
                </a:solidFill>
                <a:latin typeface="Montserrat"/>
                <a:cs typeface="Montserrat"/>
              </a:rPr>
              <a:t>upon</a:t>
            </a:r>
            <a:r>
              <a:rPr sz="900" b="0" i="1" spc="-10">
                <a:solidFill>
                  <a:srgbClr val="000000"/>
                </a:solidFill>
                <a:latin typeface="Montserrat"/>
                <a:cs typeface="Montserrat"/>
              </a:rPr>
              <a:t> </a:t>
            </a:r>
            <a:r>
              <a:rPr lang="en-AU" sz="900" b="0" i="1" spc="-10">
                <a:solidFill>
                  <a:srgbClr val="000000"/>
                </a:solidFill>
                <a:latin typeface="Montserrat"/>
                <a:cs typeface="Montserrat"/>
              </a:rPr>
              <a:t>over the initial  </a:t>
            </a:r>
            <a:r>
              <a:rPr sz="900" b="0" i="1">
                <a:solidFill>
                  <a:srgbClr val="000000"/>
                </a:solidFill>
                <a:latin typeface="Montserrat"/>
                <a:cs typeface="Montserrat"/>
              </a:rPr>
              <a:t>12</a:t>
            </a:r>
            <a:r>
              <a:rPr sz="900" b="0" i="1" spc="-15">
                <a:solidFill>
                  <a:srgbClr val="000000"/>
                </a:solidFill>
                <a:latin typeface="Montserrat"/>
                <a:cs typeface="Montserrat"/>
              </a:rPr>
              <a:t> </a:t>
            </a:r>
            <a:r>
              <a:rPr sz="900" b="0" i="1">
                <a:solidFill>
                  <a:srgbClr val="000000"/>
                </a:solidFill>
                <a:latin typeface="Montserrat"/>
                <a:cs typeface="Montserrat"/>
              </a:rPr>
              <a:t>month</a:t>
            </a:r>
            <a:r>
              <a:rPr sz="900" b="0" i="1" spc="-10">
                <a:solidFill>
                  <a:srgbClr val="000000"/>
                </a:solidFill>
                <a:latin typeface="Montserrat"/>
                <a:cs typeface="Montserrat"/>
              </a:rPr>
              <a:t> </a:t>
            </a:r>
            <a:r>
              <a:rPr lang="en-AU" sz="900" b="0" i="1" spc="-10">
                <a:solidFill>
                  <a:srgbClr val="000000"/>
                </a:solidFill>
                <a:latin typeface="Montserrat"/>
                <a:cs typeface="Montserrat"/>
              </a:rPr>
              <a:t>timeline</a:t>
            </a:r>
            <a:r>
              <a:rPr sz="900" b="0" i="1">
                <a:solidFill>
                  <a:srgbClr val="000000"/>
                </a:solidFill>
                <a:latin typeface="Montserrat"/>
                <a:cs typeface="Montserrat"/>
              </a:rPr>
              <a:t>.</a:t>
            </a:r>
            <a:r>
              <a:rPr sz="900" b="0" i="1" spc="-20">
                <a:solidFill>
                  <a:srgbClr val="000000"/>
                </a:solidFill>
                <a:latin typeface="Montserrat"/>
                <a:cs typeface="Montserrat"/>
              </a:rPr>
              <a:t> </a:t>
            </a:r>
            <a:endParaRPr sz="900">
              <a:latin typeface="Montserrat"/>
              <a:cs typeface="Montserrat"/>
            </a:endParaRPr>
          </a:p>
        </p:txBody>
      </p:sp>
      <p:sp>
        <p:nvSpPr>
          <p:cNvPr id="6" name="object 6"/>
          <p:cNvSpPr/>
          <p:nvPr/>
        </p:nvSpPr>
        <p:spPr>
          <a:xfrm>
            <a:off x="1333574" y="2942710"/>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EAE7E4"/>
          </a:solidFill>
        </p:spPr>
        <p:txBody>
          <a:bodyPr wrap="square" lIns="0" tIns="0" rIns="0" bIns="0" rtlCol="0"/>
          <a:lstStyle/>
          <a:p>
            <a:endParaRPr/>
          </a:p>
        </p:txBody>
      </p:sp>
      <p:sp>
        <p:nvSpPr>
          <p:cNvPr id="8" name="object 8"/>
          <p:cNvSpPr/>
          <p:nvPr/>
        </p:nvSpPr>
        <p:spPr>
          <a:xfrm>
            <a:off x="1333574" y="3469485"/>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EAE7E4"/>
          </a:solidFill>
        </p:spPr>
        <p:txBody>
          <a:bodyPr wrap="square" lIns="0" tIns="0" rIns="0" bIns="0" rtlCol="0"/>
          <a:lstStyle/>
          <a:p>
            <a:endParaRPr/>
          </a:p>
        </p:txBody>
      </p:sp>
      <p:sp>
        <p:nvSpPr>
          <p:cNvPr id="10" name="object 10"/>
          <p:cNvSpPr/>
          <p:nvPr/>
        </p:nvSpPr>
        <p:spPr>
          <a:xfrm>
            <a:off x="1333574" y="3996259"/>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EAE7E4"/>
          </a:solidFill>
        </p:spPr>
        <p:txBody>
          <a:bodyPr wrap="square" lIns="0" tIns="0" rIns="0" bIns="0" rtlCol="0"/>
          <a:lstStyle/>
          <a:p>
            <a:endParaRPr/>
          </a:p>
        </p:txBody>
      </p:sp>
      <p:sp>
        <p:nvSpPr>
          <p:cNvPr id="12" name="object 12"/>
          <p:cNvSpPr/>
          <p:nvPr/>
        </p:nvSpPr>
        <p:spPr>
          <a:xfrm>
            <a:off x="1333574" y="4523032"/>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EAE7E4"/>
          </a:solidFill>
        </p:spPr>
        <p:txBody>
          <a:bodyPr wrap="square" lIns="0" tIns="0" rIns="0" bIns="0" rtlCol="0"/>
          <a:lstStyle/>
          <a:p>
            <a:endParaRPr/>
          </a:p>
        </p:txBody>
      </p:sp>
      <p:grpSp>
        <p:nvGrpSpPr>
          <p:cNvPr id="16" name="object 16"/>
          <p:cNvGrpSpPr/>
          <p:nvPr/>
        </p:nvGrpSpPr>
        <p:grpSpPr>
          <a:xfrm>
            <a:off x="1333574" y="2305253"/>
            <a:ext cx="4073921" cy="4464880"/>
            <a:chOff x="1333574" y="2305253"/>
            <a:chExt cx="4073921" cy="4334510"/>
          </a:xfrm>
        </p:grpSpPr>
        <p:sp>
          <p:nvSpPr>
            <p:cNvPr id="17" name="object 17"/>
            <p:cNvSpPr/>
            <p:nvPr/>
          </p:nvSpPr>
          <p:spPr>
            <a:xfrm>
              <a:off x="1333574" y="5576581"/>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EAE7E4"/>
            </a:solidFill>
          </p:spPr>
          <p:txBody>
            <a:bodyPr wrap="square" lIns="0" tIns="0" rIns="0" bIns="0" rtlCol="0"/>
            <a:lstStyle/>
            <a:p>
              <a:endParaRPr/>
            </a:p>
          </p:txBody>
        </p:sp>
        <p:sp>
          <p:nvSpPr>
            <p:cNvPr id="21" name="object 21"/>
            <p:cNvSpPr/>
            <p:nvPr/>
          </p:nvSpPr>
          <p:spPr>
            <a:xfrm>
              <a:off x="3328506" y="2305253"/>
              <a:ext cx="2078989" cy="4334510"/>
            </a:xfrm>
            <a:custGeom>
              <a:avLst/>
              <a:gdLst/>
              <a:ahLst/>
              <a:cxnLst/>
              <a:rect l="l" t="t" r="r" b="b"/>
              <a:pathLst>
                <a:path w="2078989" h="4334509">
                  <a:moveTo>
                    <a:pt x="1982876" y="0"/>
                  </a:moveTo>
                  <a:lnTo>
                    <a:pt x="95783" y="0"/>
                  </a:lnTo>
                  <a:lnTo>
                    <a:pt x="58501" y="7527"/>
                  </a:lnTo>
                  <a:lnTo>
                    <a:pt x="28055" y="28055"/>
                  </a:lnTo>
                  <a:lnTo>
                    <a:pt x="7527" y="58501"/>
                  </a:lnTo>
                  <a:lnTo>
                    <a:pt x="0" y="95783"/>
                  </a:lnTo>
                  <a:lnTo>
                    <a:pt x="0" y="4238307"/>
                  </a:lnTo>
                  <a:lnTo>
                    <a:pt x="7527" y="4275588"/>
                  </a:lnTo>
                  <a:lnTo>
                    <a:pt x="28055" y="4306035"/>
                  </a:lnTo>
                  <a:lnTo>
                    <a:pt x="58501" y="4326563"/>
                  </a:lnTo>
                  <a:lnTo>
                    <a:pt x="95783" y="4334090"/>
                  </a:lnTo>
                  <a:lnTo>
                    <a:pt x="1982876" y="4334090"/>
                  </a:lnTo>
                  <a:lnTo>
                    <a:pt x="2020157" y="4326563"/>
                  </a:lnTo>
                  <a:lnTo>
                    <a:pt x="2050603" y="4306035"/>
                  </a:lnTo>
                  <a:lnTo>
                    <a:pt x="2071132" y="4275588"/>
                  </a:lnTo>
                  <a:lnTo>
                    <a:pt x="2078659" y="4238307"/>
                  </a:lnTo>
                  <a:lnTo>
                    <a:pt x="2078659" y="95783"/>
                  </a:lnTo>
                  <a:lnTo>
                    <a:pt x="2071132" y="58501"/>
                  </a:lnTo>
                  <a:lnTo>
                    <a:pt x="2050603" y="28055"/>
                  </a:lnTo>
                  <a:lnTo>
                    <a:pt x="2020157" y="7527"/>
                  </a:lnTo>
                  <a:lnTo>
                    <a:pt x="1982876" y="0"/>
                  </a:lnTo>
                  <a:close/>
                </a:path>
              </a:pathLst>
            </a:custGeom>
            <a:solidFill>
              <a:srgbClr val="B68150"/>
            </a:solidFill>
          </p:spPr>
          <p:txBody>
            <a:bodyPr wrap="square" lIns="0" tIns="0" rIns="0" bIns="0" rtlCol="0"/>
            <a:lstStyle/>
            <a:p>
              <a:endParaRPr/>
            </a:p>
          </p:txBody>
        </p:sp>
      </p:grpSp>
      <p:sp>
        <p:nvSpPr>
          <p:cNvPr id="22" name="object 22"/>
          <p:cNvSpPr txBox="1"/>
          <p:nvPr/>
        </p:nvSpPr>
        <p:spPr>
          <a:xfrm>
            <a:off x="3469859" y="2382520"/>
            <a:ext cx="1605915" cy="444500"/>
          </a:xfrm>
          <a:prstGeom prst="rect">
            <a:avLst/>
          </a:prstGeom>
        </p:spPr>
        <p:txBody>
          <a:bodyPr vert="horz" wrap="square" lIns="0" tIns="81280" rIns="0" bIns="0" rtlCol="0">
            <a:spAutoFit/>
          </a:bodyPr>
          <a:lstStyle/>
          <a:p>
            <a:pPr marL="12700">
              <a:lnSpc>
                <a:spcPct val="100000"/>
              </a:lnSpc>
              <a:spcBef>
                <a:spcPts val="640"/>
              </a:spcBef>
            </a:pPr>
            <a:r>
              <a:rPr sz="1200" b="1">
                <a:solidFill>
                  <a:srgbClr val="FFFFFF"/>
                </a:solidFill>
                <a:latin typeface="Montserrat"/>
                <a:cs typeface="Montserrat"/>
              </a:rPr>
              <a:t>SECOND</a:t>
            </a:r>
            <a:r>
              <a:rPr sz="1200" b="1" spc="310">
                <a:solidFill>
                  <a:srgbClr val="FFFFFF"/>
                </a:solidFill>
                <a:latin typeface="Montserrat"/>
                <a:cs typeface="Montserrat"/>
              </a:rPr>
              <a:t> </a:t>
            </a:r>
            <a:r>
              <a:rPr sz="1200" spc="-10">
                <a:solidFill>
                  <a:srgbClr val="FFFFFF"/>
                </a:solidFill>
                <a:latin typeface="Montserrat"/>
                <a:cs typeface="Montserrat"/>
              </a:rPr>
              <a:t>QUARTER</a:t>
            </a:r>
            <a:endParaRPr sz="1200">
              <a:latin typeface="Montserrat"/>
              <a:cs typeface="Montserrat"/>
            </a:endParaRPr>
          </a:p>
          <a:p>
            <a:pPr marL="12700">
              <a:lnSpc>
                <a:spcPct val="100000"/>
              </a:lnSpc>
              <a:spcBef>
                <a:spcPts val="360"/>
              </a:spcBef>
            </a:pPr>
            <a:r>
              <a:rPr sz="800" b="1">
                <a:solidFill>
                  <a:srgbClr val="2E3841"/>
                </a:solidFill>
                <a:latin typeface="Montserrat"/>
                <a:cs typeface="Montserrat"/>
              </a:rPr>
              <a:t>April</a:t>
            </a:r>
            <a:r>
              <a:rPr sz="800" b="1" spc="210">
                <a:solidFill>
                  <a:srgbClr val="2E3841"/>
                </a:solidFill>
                <a:latin typeface="Montserrat"/>
                <a:cs typeface="Montserrat"/>
              </a:rPr>
              <a:t> </a:t>
            </a:r>
            <a:r>
              <a:rPr sz="800" b="1">
                <a:solidFill>
                  <a:srgbClr val="2E3841"/>
                </a:solidFill>
                <a:latin typeface="Montserrat"/>
                <a:cs typeface="Montserrat"/>
              </a:rPr>
              <a:t>to</a:t>
            </a:r>
            <a:r>
              <a:rPr sz="800" b="1" spc="225">
                <a:solidFill>
                  <a:srgbClr val="2E3841"/>
                </a:solidFill>
                <a:latin typeface="Montserrat"/>
                <a:cs typeface="Montserrat"/>
              </a:rPr>
              <a:t> </a:t>
            </a:r>
            <a:r>
              <a:rPr sz="800" b="1" spc="-20">
                <a:solidFill>
                  <a:srgbClr val="2E3841"/>
                </a:solidFill>
                <a:latin typeface="Montserrat"/>
                <a:cs typeface="Montserrat"/>
              </a:rPr>
              <a:t>June</a:t>
            </a:r>
            <a:endParaRPr sz="800">
              <a:latin typeface="Montserrat"/>
              <a:cs typeface="Montserrat"/>
            </a:endParaRPr>
          </a:p>
        </p:txBody>
      </p:sp>
      <p:sp>
        <p:nvSpPr>
          <p:cNvPr id="25" name="object 25"/>
          <p:cNvSpPr/>
          <p:nvPr/>
        </p:nvSpPr>
        <p:spPr>
          <a:xfrm>
            <a:off x="3480427" y="3469485"/>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B68150"/>
          </a:solidFill>
        </p:spPr>
        <p:txBody>
          <a:bodyPr wrap="square" lIns="0" tIns="0" rIns="0" bIns="0" rtlCol="0"/>
          <a:lstStyle/>
          <a:p>
            <a:endParaRPr/>
          </a:p>
        </p:txBody>
      </p:sp>
      <p:sp>
        <p:nvSpPr>
          <p:cNvPr id="27" name="object 27"/>
          <p:cNvSpPr/>
          <p:nvPr/>
        </p:nvSpPr>
        <p:spPr>
          <a:xfrm>
            <a:off x="3480427" y="3996259"/>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B68150"/>
          </a:solidFill>
        </p:spPr>
        <p:txBody>
          <a:bodyPr wrap="square" lIns="0" tIns="0" rIns="0" bIns="0" rtlCol="0"/>
          <a:lstStyle/>
          <a:p>
            <a:endParaRPr/>
          </a:p>
        </p:txBody>
      </p:sp>
      <p:sp>
        <p:nvSpPr>
          <p:cNvPr id="29" name="object 29"/>
          <p:cNvSpPr/>
          <p:nvPr/>
        </p:nvSpPr>
        <p:spPr>
          <a:xfrm>
            <a:off x="3480427" y="4523032"/>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B68150"/>
          </a:solidFill>
        </p:spPr>
        <p:txBody>
          <a:bodyPr wrap="square" lIns="0" tIns="0" rIns="0" bIns="0" rtlCol="0"/>
          <a:lstStyle/>
          <a:p>
            <a:endParaRPr/>
          </a:p>
        </p:txBody>
      </p:sp>
      <p:sp>
        <p:nvSpPr>
          <p:cNvPr id="37" name="object 37"/>
          <p:cNvSpPr/>
          <p:nvPr/>
        </p:nvSpPr>
        <p:spPr>
          <a:xfrm>
            <a:off x="5472045" y="2305253"/>
            <a:ext cx="2078989" cy="4464880"/>
          </a:xfrm>
          <a:custGeom>
            <a:avLst/>
            <a:gdLst/>
            <a:ahLst/>
            <a:cxnLst/>
            <a:rect l="l" t="t" r="r" b="b"/>
            <a:pathLst>
              <a:path w="2078990" h="4334509">
                <a:moveTo>
                  <a:pt x="1982876" y="0"/>
                </a:moveTo>
                <a:lnTo>
                  <a:pt x="95783" y="0"/>
                </a:lnTo>
                <a:lnTo>
                  <a:pt x="58501" y="7527"/>
                </a:lnTo>
                <a:lnTo>
                  <a:pt x="28055" y="28055"/>
                </a:lnTo>
                <a:lnTo>
                  <a:pt x="7527" y="58501"/>
                </a:lnTo>
                <a:lnTo>
                  <a:pt x="0" y="95783"/>
                </a:lnTo>
                <a:lnTo>
                  <a:pt x="0" y="4238307"/>
                </a:lnTo>
                <a:lnTo>
                  <a:pt x="7527" y="4275588"/>
                </a:lnTo>
                <a:lnTo>
                  <a:pt x="28055" y="4306035"/>
                </a:lnTo>
                <a:lnTo>
                  <a:pt x="58501" y="4326563"/>
                </a:lnTo>
                <a:lnTo>
                  <a:pt x="95783" y="4334090"/>
                </a:lnTo>
                <a:lnTo>
                  <a:pt x="1982876" y="4334090"/>
                </a:lnTo>
                <a:lnTo>
                  <a:pt x="2020157" y="4326563"/>
                </a:lnTo>
                <a:lnTo>
                  <a:pt x="2050603" y="4306035"/>
                </a:lnTo>
                <a:lnTo>
                  <a:pt x="2071132" y="4275588"/>
                </a:lnTo>
                <a:lnTo>
                  <a:pt x="2078659" y="4238307"/>
                </a:lnTo>
                <a:lnTo>
                  <a:pt x="2078659" y="95783"/>
                </a:lnTo>
                <a:lnTo>
                  <a:pt x="2071132" y="58501"/>
                </a:lnTo>
                <a:lnTo>
                  <a:pt x="2050603" y="28055"/>
                </a:lnTo>
                <a:lnTo>
                  <a:pt x="2020157" y="7527"/>
                </a:lnTo>
                <a:lnTo>
                  <a:pt x="1982876" y="0"/>
                </a:lnTo>
                <a:close/>
              </a:path>
            </a:pathLst>
          </a:custGeom>
          <a:solidFill>
            <a:srgbClr val="334560"/>
          </a:solidFill>
        </p:spPr>
        <p:txBody>
          <a:bodyPr wrap="square" lIns="0" tIns="0" rIns="0" bIns="0" rtlCol="0"/>
          <a:lstStyle/>
          <a:p>
            <a:endParaRPr/>
          </a:p>
        </p:txBody>
      </p:sp>
      <p:sp>
        <p:nvSpPr>
          <p:cNvPr id="38" name="object 38"/>
          <p:cNvSpPr txBox="1"/>
          <p:nvPr/>
        </p:nvSpPr>
        <p:spPr>
          <a:xfrm>
            <a:off x="5613398" y="2382520"/>
            <a:ext cx="1417320" cy="444500"/>
          </a:xfrm>
          <a:prstGeom prst="rect">
            <a:avLst/>
          </a:prstGeom>
        </p:spPr>
        <p:txBody>
          <a:bodyPr vert="horz" wrap="square" lIns="0" tIns="81280" rIns="0" bIns="0" rtlCol="0">
            <a:spAutoFit/>
          </a:bodyPr>
          <a:lstStyle/>
          <a:p>
            <a:pPr marL="12700">
              <a:lnSpc>
                <a:spcPct val="100000"/>
              </a:lnSpc>
              <a:spcBef>
                <a:spcPts val="640"/>
              </a:spcBef>
            </a:pPr>
            <a:r>
              <a:rPr sz="1200" b="1" dirty="0">
                <a:solidFill>
                  <a:srgbClr val="FFFFFF"/>
                </a:solidFill>
                <a:latin typeface="Montserrat"/>
                <a:cs typeface="Montserrat"/>
              </a:rPr>
              <a:t>THIRD</a:t>
            </a:r>
            <a:r>
              <a:rPr sz="1200" b="1" spc="285" dirty="0">
                <a:solidFill>
                  <a:srgbClr val="FFFFFF"/>
                </a:solidFill>
                <a:latin typeface="Montserrat"/>
                <a:cs typeface="Montserrat"/>
              </a:rPr>
              <a:t> </a:t>
            </a:r>
            <a:r>
              <a:rPr sz="1200" spc="-10" dirty="0">
                <a:solidFill>
                  <a:srgbClr val="FFFFFF"/>
                </a:solidFill>
                <a:latin typeface="Montserrat"/>
                <a:cs typeface="Montserrat"/>
              </a:rPr>
              <a:t>QUARTER</a:t>
            </a:r>
            <a:endParaRPr sz="1200" dirty="0">
              <a:latin typeface="Montserrat"/>
              <a:cs typeface="Montserrat"/>
            </a:endParaRPr>
          </a:p>
          <a:p>
            <a:pPr marL="12700">
              <a:lnSpc>
                <a:spcPct val="100000"/>
              </a:lnSpc>
              <a:spcBef>
                <a:spcPts val="360"/>
              </a:spcBef>
            </a:pPr>
            <a:r>
              <a:rPr sz="800" b="1" spc="-10" dirty="0">
                <a:solidFill>
                  <a:srgbClr val="B68150"/>
                </a:solidFill>
                <a:latin typeface="Montserrat"/>
                <a:cs typeface="Montserrat"/>
              </a:rPr>
              <a:t>September</a:t>
            </a:r>
            <a:r>
              <a:rPr lang="en-AU" sz="800" b="1" spc="-10" dirty="0">
                <a:solidFill>
                  <a:srgbClr val="B68150"/>
                </a:solidFill>
                <a:latin typeface="Montserrat"/>
                <a:cs typeface="Montserrat"/>
              </a:rPr>
              <a:t> to November</a:t>
            </a:r>
            <a:endParaRPr sz="800" dirty="0">
              <a:latin typeface="Montserrat"/>
              <a:cs typeface="Montserrat"/>
            </a:endParaRPr>
          </a:p>
        </p:txBody>
      </p:sp>
      <p:sp>
        <p:nvSpPr>
          <p:cNvPr id="41" name="object 41"/>
          <p:cNvSpPr/>
          <p:nvPr/>
        </p:nvSpPr>
        <p:spPr>
          <a:xfrm>
            <a:off x="5617339" y="3469485"/>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334560"/>
          </a:solidFill>
        </p:spPr>
        <p:txBody>
          <a:bodyPr wrap="square" lIns="0" tIns="0" rIns="0" bIns="0" rtlCol="0"/>
          <a:lstStyle/>
          <a:p>
            <a:endParaRPr/>
          </a:p>
        </p:txBody>
      </p:sp>
      <p:sp>
        <p:nvSpPr>
          <p:cNvPr id="43" name="object 43"/>
          <p:cNvSpPr/>
          <p:nvPr/>
        </p:nvSpPr>
        <p:spPr>
          <a:xfrm>
            <a:off x="5617339" y="3996259"/>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334560"/>
          </a:solidFill>
        </p:spPr>
        <p:txBody>
          <a:bodyPr wrap="square" lIns="0" tIns="0" rIns="0" bIns="0" rtlCol="0"/>
          <a:lstStyle/>
          <a:p>
            <a:endParaRPr/>
          </a:p>
        </p:txBody>
      </p:sp>
      <p:sp>
        <p:nvSpPr>
          <p:cNvPr id="45" name="object 45"/>
          <p:cNvSpPr/>
          <p:nvPr/>
        </p:nvSpPr>
        <p:spPr>
          <a:xfrm>
            <a:off x="5617339" y="4523032"/>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334560"/>
          </a:solidFill>
        </p:spPr>
        <p:txBody>
          <a:bodyPr wrap="square" lIns="0" tIns="0" rIns="0" bIns="0" rtlCol="0"/>
          <a:lstStyle/>
          <a:p>
            <a:endParaRPr/>
          </a:p>
        </p:txBody>
      </p:sp>
      <p:sp>
        <p:nvSpPr>
          <p:cNvPr id="47" name="object 47"/>
          <p:cNvSpPr/>
          <p:nvPr/>
        </p:nvSpPr>
        <p:spPr>
          <a:xfrm>
            <a:off x="5617339" y="5049806"/>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334560"/>
          </a:solidFill>
        </p:spPr>
        <p:txBody>
          <a:bodyPr wrap="square" lIns="0" tIns="0" rIns="0" bIns="0" rtlCol="0"/>
          <a:lstStyle/>
          <a:p>
            <a:endParaRPr/>
          </a:p>
        </p:txBody>
      </p:sp>
      <p:sp>
        <p:nvSpPr>
          <p:cNvPr id="49" name="object 49"/>
          <p:cNvSpPr/>
          <p:nvPr/>
        </p:nvSpPr>
        <p:spPr>
          <a:xfrm>
            <a:off x="5617339" y="5576581"/>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334560"/>
          </a:solidFill>
        </p:spPr>
        <p:txBody>
          <a:bodyPr wrap="square" lIns="0" tIns="0" rIns="0" bIns="0" rtlCol="0"/>
          <a:lstStyle/>
          <a:p>
            <a:endParaRPr/>
          </a:p>
        </p:txBody>
      </p:sp>
      <p:sp>
        <p:nvSpPr>
          <p:cNvPr id="51" name="object 51"/>
          <p:cNvSpPr/>
          <p:nvPr/>
        </p:nvSpPr>
        <p:spPr>
          <a:xfrm>
            <a:off x="5617339" y="6103355"/>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334560"/>
          </a:solidFill>
        </p:spPr>
        <p:txBody>
          <a:bodyPr wrap="square" lIns="0" tIns="0" rIns="0" bIns="0" rtlCol="0"/>
          <a:lstStyle/>
          <a:p>
            <a:endParaRPr/>
          </a:p>
        </p:txBody>
      </p:sp>
      <p:sp>
        <p:nvSpPr>
          <p:cNvPr id="53" name="object 53"/>
          <p:cNvSpPr/>
          <p:nvPr/>
        </p:nvSpPr>
        <p:spPr>
          <a:xfrm>
            <a:off x="7764191" y="2942710"/>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2E3841"/>
          </a:solidFill>
        </p:spPr>
        <p:txBody>
          <a:bodyPr wrap="square" lIns="0" tIns="0" rIns="0" bIns="0" rtlCol="0"/>
          <a:lstStyle/>
          <a:p>
            <a:endParaRPr/>
          </a:p>
        </p:txBody>
      </p:sp>
      <p:sp>
        <p:nvSpPr>
          <p:cNvPr id="59" name="object 59"/>
          <p:cNvSpPr/>
          <p:nvPr/>
        </p:nvSpPr>
        <p:spPr>
          <a:xfrm>
            <a:off x="7764191" y="4523032"/>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2E3841"/>
          </a:solidFill>
        </p:spPr>
        <p:txBody>
          <a:bodyPr wrap="square" lIns="0" tIns="0" rIns="0" bIns="0" rtlCol="0"/>
          <a:lstStyle/>
          <a:p>
            <a:endParaRPr/>
          </a:p>
        </p:txBody>
      </p:sp>
      <p:sp>
        <p:nvSpPr>
          <p:cNvPr id="61" name="object 61"/>
          <p:cNvSpPr/>
          <p:nvPr/>
        </p:nvSpPr>
        <p:spPr>
          <a:xfrm>
            <a:off x="7764191" y="5049806"/>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2E3841"/>
          </a:solidFill>
        </p:spPr>
        <p:txBody>
          <a:bodyPr wrap="square" lIns="0" tIns="0" rIns="0" bIns="0" rtlCol="0"/>
          <a:lstStyle/>
          <a:p>
            <a:endParaRPr/>
          </a:p>
        </p:txBody>
      </p:sp>
      <p:sp>
        <p:nvSpPr>
          <p:cNvPr id="63" name="object 63"/>
          <p:cNvSpPr/>
          <p:nvPr/>
        </p:nvSpPr>
        <p:spPr>
          <a:xfrm>
            <a:off x="7764191" y="5576581"/>
            <a:ext cx="1787525" cy="396875"/>
          </a:xfrm>
          <a:custGeom>
            <a:avLst/>
            <a:gdLst/>
            <a:ahLst/>
            <a:cxnLst/>
            <a:rect l="l" t="t" r="r" b="b"/>
            <a:pathLst>
              <a:path w="1787525" h="396875">
                <a:moveTo>
                  <a:pt x="1787309" y="0"/>
                </a:moveTo>
                <a:lnTo>
                  <a:pt x="0" y="0"/>
                </a:lnTo>
                <a:lnTo>
                  <a:pt x="0" y="396836"/>
                </a:lnTo>
                <a:lnTo>
                  <a:pt x="1787309" y="396836"/>
                </a:lnTo>
                <a:lnTo>
                  <a:pt x="1787309" y="0"/>
                </a:lnTo>
                <a:close/>
              </a:path>
            </a:pathLst>
          </a:custGeom>
          <a:solidFill>
            <a:srgbClr val="2E3841"/>
          </a:solidFill>
        </p:spPr>
        <p:txBody>
          <a:bodyPr wrap="square" lIns="0" tIns="0" rIns="0" bIns="0" rtlCol="0"/>
          <a:lstStyle/>
          <a:p>
            <a:endParaRPr/>
          </a:p>
        </p:txBody>
      </p:sp>
      <p:sp>
        <p:nvSpPr>
          <p:cNvPr id="67" name="object 67"/>
          <p:cNvSpPr/>
          <p:nvPr/>
        </p:nvSpPr>
        <p:spPr>
          <a:xfrm>
            <a:off x="3328506" y="6824345"/>
            <a:ext cx="4220210" cy="382905"/>
          </a:xfrm>
          <a:custGeom>
            <a:avLst/>
            <a:gdLst/>
            <a:ahLst/>
            <a:cxnLst/>
            <a:rect l="l" t="t" r="r" b="b"/>
            <a:pathLst>
              <a:path w="4220209" h="382904">
                <a:moveTo>
                  <a:pt x="0" y="97107"/>
                </a:moveTo>
                <a:lnTo>
                  <a:pt x="7631" y="59308"/>
                </a:lnTo>
                <a:lnTo>
                  <a:pt x="28441" y="28441"/>
                </a:lnTo>
                <a:lnTo>
                  <a:pt x="59308" y="7631"/>
                </a:lnTo>
                <a:lnTo>
                  <a:pt x="97106" y="0"/>
                </a:lnTo>
                <a:lnTo>
                  <a:pt x="4122938" y="0"/>
                </a:lnTo>
                <a:lnTo>
                  <a:pt x="4160736" y="7631"/>
                </a:lnTo>
                <a:lnTo>
                  <a:pt x="4191603" y="28441"/>
                </a:lnTo>
                <a:lnTo>
                  <a:pt x="4212413" y="59308"/>
                </a:lnTo>
                <a:lnTo>
                  <a:pt x="4220044" y="97107"/>
                </a:lnTo>
                <a:lnTo>
                  <a:pt x="4220044" y="285556"/>
                </a:lnTo>
                <a:lnTo>
                  <a:pt x="4212413" y="323355"/>
                </a:lnTo>
                <a:lnTo>
                  <a:pt x="4191603" y="354221"/>
                </a:lnTo>
                <a:lnTo>
                  <a:pt x="4160736" y="375032"/>
                </a:lnTo>
                <a:lnTo>
                  <a:pt x="4122938" y="382663"/>
                </a:lnTo>
                <a:lnTo>
                  <a:pt x="97106" y="382663"/>
                </a:lnTo>
                <a:lnTo>
                  <a:pt x="59308" y="375032"/>
                </a:lnTo>
                <a:lnTo>
                  <a:pt x="28441" y="354221"/>
                </a:lnTo>
                <a:lnTo>
                  <a:pt x="7631" y="323355"/>
                </a:lnTo>
                <a:lnTo>
                  <a:pt x="0" y="285556"/>
                </a:lnTo>
                <a:lnTo>
                  <a:pt x="0" y="97107"/>
                </a:lnTo>
                <a:close/>
              </a:path>
            </a:pathLst>
          </a:custGeom>
          <a:ln w="12693">
            <a:solidFill>
              <a:srgbClr val="B68150"/>
            </a:solidFill>
          </a:ln>
        </p:spPr>
        <p:txBody>
          <a:bodyPr wrap="square" lIns="0" tIns="0" rIns="0" bIns="0" rtlCol="0"/>
          <a:lstStyle/>
          <a:p>
            <a:endParaRPr/>
          </a:p>
        </p:txBody>
      </p:sp>
      <p:sp>
        <p:nvSpPr>
          <p:cNvPr id="68" name="object 68"/>
          <p:cNvSpPr txBox="1"/>
          <p:nvPr/>
        </p:nvSpPr>
        <p:spPr>
          <a:xfrm>
            <a:off x="5079241" y="6922771"/>
            <a:ext cx="713740" cy="208279"/>
          </a:xfrm>
          <a:prstGeom prst="rect">
            <a:avLst/>
          </a:prstGeom>
        </p:spPr>
        <p:txBody>
          <a:bodyPr vert="horz" wrap="square" lIns="0" tIns="12700" rIns="0" bIns="0" rtlCol="0">
            <a:spAutoFit/>
          </a:bodyPr>
          <a:lstStyle/>
          <a:p>
            <a:pPr marL="12700">
              <a:lnSpc>
                <a:spcPct val="100000"/>
              </a:lnSpc>
              <a:spcBef>
                <a:spcPts val="100"/>
              </a:spcBef>
            </a:pPr>
            <a:r>
              <a:rPr sz="1200" b="1" spc="-10">
                <a:solidFill>
                  <a:srgbClr val="B68150"/>
                </a:solidFill>
                <a:latin typeface="Montserrat"/>
                <a:cs typeface="Montserrat"/>
              </a:rPr>
              <a:t>REVIEW</a:t>
            </a:r>
            <a:endParaRPr sz="1200">
              <a:latin typeface="Montserrat"/>
              <a:cs typeface="Montserrat"/>
            </a:endParaRPr>
          </a:p>
        </p:txBody>
      </p:sp>
      <p:grpSp>
        <p:nvGrpSpPr>
          <p:cNvPr id="69" name="object 69"/>
          <p:cNvGrpSpPr/>
          <p:nvPr/>
        </p:nvGrpSpPr>
        <p:grpSpPr>
          <a:xfrm>
            <a:off x="3186963" y="2439363"/>
            <a:ext cx="4510239" cy="252095"/>
            <a:chOff x="3186963" y="2439363"/>
            <a:chExt cx="4510239" cy="252095"/>
          </a:xfrm>
        </p:grpSpPr>
        <p:sp>
          <p:nvSpPr>
            <p:cNvPr id="70" name="object 70"/>
            <p:cNvSpPr/>
            <p:nvPr/>
          </p:nvSpPr>
          <p:spPr>
            <a:xfrm>
              <a:off x="3186963" y="2439363"/>
              <a:ext cx="216535" cy="252095"/>
            </a:xfrm>
            <a:custGeom>
              <a:avLst/>
              <a:gdLst/>
              <a:ahLst/>
              <a:cxnLst/>
              <a:rect l="l" t="t" r="r" b="b"/>
              <a:pathLst>
                <a:path w="216535" h="252094">
                  <a:moveTo>
                    <a:pt x="0" y="0"/>
                  </a:moveTo>
                  <a:lnTo>
                    <a:pt x="0" y="251993"/>
                  </a:lnTo>
                  <a:lnTo>
                    <a:pt x="216001" y="125996"/>
                  </a:lnTo>
                  <a:lnTo>
                    <a:pt x="0" y="0"/>
                  </a:lnTo>
                  <a:close/>
                </a:path>
              </a:pathLst>
            </a:custGeom>
            <a:solidFill>
              <a:srgbClr val="EAE7E4"/>
            </a:solidFill>
          </p:spPr>
          <p:txBody>
            <a:bodyPr wrap="square" lIns="0" tIns="0" rIns="0" bIns="0" rtlCol="0"/>
            <a:lstStyle/>
            <a:p>
              <a:endParaRPr/>
            </a:p>
          </p:txBody>
        </p:sp>
        <p:sp>
          <p:nvSpPr>
            <p:cNvPr id="71" name="object 71"/>
            <p:cNvSpPr/>
            <p:nvPr/>
          </p:nvSpPr>
          <p:spPr>
            <a:xfrm>
              <a:off x="5333815" y="2439363"/>
              <a:ext cx="216535" cy="252095"/>
            </a:xfrm>
            <a:custGeom>
              <a:avLst/>
              <a:gdLst/>
              <a:ahLst/>
              <a:cxnLst/>
              <a:rect l="l" t="t" r="r" b="b"/>
              <a:pathLst>
                <a:path w="216535" h="252094">
                  <a:moveTo>
                    <a:pt x="0" y="0"/>
                  </a:moveTo>
                  <a:lnTo>
                    <a:pt x="0" y="251993"/>
                  </a:lnTo>
                  <a:lnTo>
                    <a:pt x="216001" y="125996"/>
                  </a:lnTo>
                  <a:lnTo>
                    <a:pt x="0" y="0"/>
                  </a:lnTo>
                  <a:close/>
                </a:path>
              </a:pathLst>
            </a:custGeom>
            <a:solidFill>
              <a:srgbClr val="B68150"/>
            </a:solidFill>
          </p:spPr>
          <p:txBody>
            <a:bodyPr wrap="square" lIns="0" tIns="0" rIns="0" bIns="0" rtlCol="0"/>
            <a:lstStyle/>
            <a:p>
              <a:endParaRPr/>
            </a:p>
          </p:txBody>
        </p:sp>
        <p:sp>
          <p:nvSpPr>
            <p:cNvPr id="72" name="object 72"/>
            <p:cNvSpPr/>
            <p:nvPr/>
          </p:nvSpPr>
          <p:spPr>
            <a:xfrm>
              <a:off x="7480667" y="2439363"/>
              <a:ext cx="216535" cy="252095"/>
            </a:xfrm>
            <a:custGeom>
              <a:avLst/>
              <a:gdLst/>
              <a:ahLst/>
              <a:cxnLst/>
              <a:rect l="l" t="t" r="r" b="b"/>
              <a:pathLst>
                <a:path w="216534" h="252094">
                  <a:moveTo>
                    <a:pt x="0" y="0"/>
                  </a:moveTo>
                  <a:lnTo>
                    <a:pt x="0" y="251993"/>
                  </a:lnTo>
                  <a:lnTo>
                    <a:pt x="216001" y="125996"/>
                  </a:lnTo>
                  <a:lnTo>
                    <a:pt x="0" y="0"/>
                  </a:lnTo>
                  <a:close/>
                </a:path>
              </a:pathLst>
            </a:custGeom>
            <a:solidFill>
              <a:srgbClr val="334560"/>
            </a:solidFill>
          </p:spPr>
          <p:txBody>
            <a:bodyPr wrap="square" lIns="0" tIns="0" rIns="0" bIns="0" rtlCol="0"/>
            <a:lstStyle/>
            <a:p>
              <a:endParaRPr/>
            </a:p>
          </p:txBody>
        </p:sp>
      </p:grpSp>
      <p:sp>
        <p:nvSpPr>
          <p:cNvPr id="74" name="object 74"/>
          <p:cNvSpPr/>
          <p:nvPr/>
        </p:nvSpPr>
        <p:spPr>
          <a:xfrm>
            <a:off x="820987" y="1690109"/>
            <a:ext cx="273050" cy="0"/>
          </a:xfrm>
          <a:custGeom>
            <a:avLst/>
            <a:gdLst/>
            <a:ahLst/>
            <a:cxnLst/>
            <a:rect l="l" t="t" r="r" b="b"/>
            <a:pathLst>
              <a:path w="273050">
                <a:moveTo>
                  <a:pt x="0" y="0"/>
                </a:moveTo>
                <a:lnTo>
                  <a:pt x="272486" y="0"/>
                </a:lnTo>
              </a:path>
            </a:pathLst>
          </a:custGeom>
          <a:ln w="15866">
            <a:solidFill>
              <a:srgbClr val="B68150"/>
            </a:solidFill>
          </a:ln>
        </p:spPr>
        <p:txBody>
          <a:bodyPr wrap="square" lIns="0" tIns="0" rIns="0" bIns="0" rtlCol="0"/>
          <a:lstStyle/>
          <a:p>
            <a:endParaRPr/>
          </a:p>
        </p:txBody>
      </p:sp>
      <p:grpSp>
        <p:nvGrpSpPr>
          <p:cNvPr id="103" name="object 69"/>
          <p:cNvGrpSpPr/>
          <p:nvPr/>
        </p:nvGrpSpPr>
        <p:grpSpPr>
          <a:xfrm>
            <a:off x="3186963" y="2439363"/>
            <a:ext cx="4510239" cy="4702481"/>
            <a:chOff x="3186963" y="2439363"/>
            <a:chExt cx="4510239" cy="4702481"/>
          </a:xfrm>
        </p:grpSpPr>
        <p:sp>
          <p:nvSpPr>
            <p:cNvPr id="99" name="object 70"/>
            <p:cNvSpPr/>
            <p:nvPr/>
          </p:nvSpPr>
          <p:spPr>
            <a:xfrm>
              <a:off x="3186963" y="2439363"/>
              <a:ext cx="216535" cy="252095"/>
            </a:xfrm>
            <a:custGeom>
              <a:avLst/>
              <a:gdLst/>
              <a:ahLst/>
              <a:cxnLst/>
              <a:rect l="l" t="t" r="r" b="b"/>
              <a:pathLst>
                <a:path w="216535" h="252094">
                  <a:moveTo>
                    <a:pt x="0" y="0"/>
                  </a:moveTo>
                  <a:lnTo>
                    <a:pt x="0" y="251993"/>
                  </a:lnTo>
                  <a:lnTo>
                    <a:pt x="216001" y="125996"/>
                  </a:lnTo>
                  <a:lnTo>
                    <a:pt x="0" y="0"/>
                  </a:lnTo>
                  <a:close/>
                </a:path>
              </a:pathLst>
            </a:custGeom>
            <a:solidFill>
              <a:srgbClr val="EAE7E4"/>
            </a:solidFill>
          </p:spPr>
          <p:txBody>
            <a:bodyPr wrap="square" lIns="0" tIns="0" rIns="0" bIns="0" rtlCol="0"/>
            <a:lstStyle/>
            <a:p>
              <a:endParaRPr/>
            </a:p>
          </p:txBody>
        </p:sp>
        <p:sp>
          <p:nvSpPr>
            <p:cNvPr id="100" name="object 71"/>
            <p:cNvSpPr/>
            <p:nvPr/>
          </p:nvSpPr>
          <p:spPr>
            <a:xfrm>
              <a:off x="5333815" y="2439363"/>
              <a:ext cx="216535" cy="252095"/>
            </a:xfrm>
            <a:custGeom>
              <a:avLst/>
              <a:gdLst/>
              <a:ahLst/>
              <a:cxnLst/>
              <a:rect l="l" t="t" r="r" b="b"/>
              <a:pathLst>
                <a:path w="216535" h="252094">
                  <a:moveTo>
                    <a:pt x="0" y="0"/>
                  </a:moveTo>
                  <a:lnTo>
                    <a:pt x="0" y="251993"/>
                  </a:lnTo>
                  <a:lnTo>
                    <a:pt x="216001" y="125996"/>
                  </a:lnTo>
                  <a:lnTo>
                    <a:pt x="0" y="0"/>
                  </a:lnTo>
                  <a:close/>
                </a:path>
              </a:pathLst>
            </a:custGeom>
            <a:solidFill>
              <a:srgbClr val="B68150"/>
            </a:solidFill>
          </p:spPr>
          <p:txBody>
            <a:bodyPr wrap="square" lIns="0" tIns="0" rIns="0" bIns="0" rtlCol="0"/>
            <a:lstStyle/>
            <a:p>
              <a:endParaRPr/>
            </a:p>
          </p:txBody>
        </p:sp>
        <p:sp>
          <p:nvSpPr>
            <p:cNvPr id="102" name="object 73"/>
            <p:cNvSpPr/>
            <p:nvPr/>
          </p:nvSpPr>
          <p:spPr>
            <a:xfrm>
              <a:off x="7404864" y="6889749"/>
              <a:ext cx="216535" cy="252095"/>
            </a:xfrm>
            <a:custGeom>
              <a:avLst/>
              <a:gdLst/>
              <a:ahLst/>
              <a:cxnLst/>
              <a:rect l="l" t="t" r="r" b="b"/>
              <a:pathLst>
                <a:path w="216534" h="252095">
                  <a:moveTo>
                    <a:pt x="216001" y="0"/>
                  </a:moveTo>
                  <a:lnTo>
                    <a:pt x="0" y="126009"/>
                  </a:lnTo>
                  <a:lnTo>
                    <a:pt x="216001" y="252006"/>
                  </a:lnTo>
                  <a:lnTo>
                    <a:pt x="216001" y="0"/>
                  </a:lnTo>
                  <a:close/>
                </a:path>
              </a:pathLst>
            </a:custGeom>
            <a:solidFill>
              <a:srgbClr val="2E3841"/>
            </a:solidFill>
          </p:spPr>
          <p:txBody>
            <a:bodyPr wrap="square" lIns="0" tIns="0" rIns="0" bIns="0" rtlCol="0"/>
            <a:lstStyle/>
            <a:p>
              <a:endParaRPr dirty="0"/>
            </a:p>
          </p:txBody>
        </p:sp>
        <p:sp>
          <p:nvSpPr>
            <p:cNvPr id="101" name="object 72"/>
            <p:cNvSpPr/>
            <p:nvPr/>
          </p:nvSpPr>
          <p:spPr>
            <a:xfrm>
              <a:off x="7480667" y="2439363"/>
              <a:ext cx="216535" cy="252095"/>
            </a:xfrm>
            <a:custGeom>
              <a:avLst/>
              <a:gdLst/>
              <a:ahLst/>
              <a:cxnLst/>
              <a:rect l="l" t="t" r="r" b="b"/>
              <a:pathLst>
                <a:path w="216534" h="252094">
                  <a:moveTo>
                    <a:pt x="0" y="0"/>
                  </a:moveTo>
                  <a:lnTo>
                    <a:pt x="0" y="251993"/>
                  </a:lnTo>
                  <a:lnTo>
                    <a:pt x="216001" y="125996"/>
                  </a:lnTo>
                  <a:lnTo>
                    <a:pt x="0" y="0"/>
                  </a:lnTo>
                  <a:close/>
                </a:path>
              </a:pathLst>
            </a:custGeom>
            <a:solidFill>
              <a:srgbClr val="334560"/>
            </a:solidFill>
          </p:spPr>
          <p:txBody>
            <a:bodyPr wrap="square" lIns="0" tIns="0" rIns="0" bIns="0" rtlCol="0"/>
            <a:lstStyle/>
            <a:p>
              <a:endParaRPr/>
            </a:p>
          </p:txBody>
        </p:sp>
      </p:grpSp>
      <p:sp>
        <p:nvSpPr>
          <p:cNvPr id="75" name="TextBox 74">
            <a:extLst>
              <a:ext uri="{FF2B5EF4-FFF2-40B4-BE49-F238E27FC236}">
                <a16:creationId xmlns:a16="http://schemas.microsoft.com/office/drawing/2014/main" id="{A1E95001-7FC4-046F-0805-50235E843E7D}"/>
              </a:ext>
            </a:extLst>
          </p:cNvPr>
          <p:cNvSpPr txBox="1"/>
          <p:nvPr/>
        </p:nvSpPr>
        <p:spPr>
          <a:xfrm>
            <a:off x="1194662" y="2822857"/>
            <a:ext cx="2078989" cy="4319131"/>
          </a:xfrm>
          <a:prstGeom prst="rect">
            <a:avLst/>
          </a:prstGeom>
          <a:noFill/>
        </p:spPr>
        <p:txBody>
          <a:bodyPr wrap="square" rtlCol="0">
            <a:spAutoFit/>
          </a:bodyPr>
          <a:lstStyle/>
          <a:p>
            <a:pPr marL="180975" indent="-180975">
              <a:spcBef>
                <a:spcPts val="400"/>
              </a:spcBef>
              <a:spcAft>
                <a:spcPts val="400"/>
              </a:spcAft>
              <a:buFont typeface="Arial" panose="020B0604020202020204" pitchFamily="34" charset="0"/>
              <a:buChar char="•"/>
            </a:pPr>
            <a:r>
              <a:rPr lang="en-US" sz="800" dirty="0">
                <a:latin typeface="Montserrat Medium" panose="00000600000000000000" pitchFamily="2" charset="0"/>
              </a:rPr>
              <a:t>Due Diligence - full picture of current income, equity &amp; control of business and personal.</a:t>
            </a:r>
          </a:p>
          <a:p>
            <a:pPr marL="180975" indent="-180975">
              <a:spcBef>
                <a:spcPts val="400"/>
              </a:spcBef>
              <a:spcAft>
                <a:spcPts val="400"/>
              </a:spcAft>
              <a:buFont typeface="Arial" panose="020B0604020202020204" pitchFamily="34" charset="0"/>
              <a:buChar char="•"/>
            </a:pPr>
            <a:r>
              <a:rPr lang="en-US" sz="800" dirty="0" err="1">
                <a:latin typeface="Montserrat Medium" panose="00000600000000000000" pitchFamily="2" charset="0"/>
              </a:rPr>
              <a:t>McD</a:t>
            </a:r>
            <a:r>
              <a:rPr lang="en-US" sz="800" dirty="0">
                <a:latin typeface="Montserrat Medium" panose="00000600000000000000" pitchFamily="2" charset="0"/>
              </a:rPr>
              <a:t> #2 and </a:t>
            </a:r>
            <a:r>
              <a:rPr lang="en-US" sz="800" dirty="0" err="1">
                <a:latin typeface="Montserrat Medium" panose="00000600000000000000" pitchFamily="2" charset="0"/>
              </a:rPr>
              <a:t>McD</a:t>
            </a:r>
            <a:r>
              <a:rPr lang="en-US" sz="800" dirty="0">
                <a:latin typeface="Montserrat Medium" panose="00000600000000000000" pitchFamily="2" charset="0"/>
              </a:rPr>
              <a:t> #1 to prepare Position Descriptions to determine what skills need to be passed and learnt.</a:t>
            </a:r>
          </a:p>
          <a:p>
            <a:pPr marL="180975" indent="-180975">
              <a:spcBef>
                <a:spcPts val="400"/>
              </a:spcBef>
              <a:spcAft>
                <a:spcPts val="400"/>
              </a:spcAft>
              <a:buFont typeface="Arial" panose="020B0604020202020204" pitchFamily="34" charset="0"/>
              <a:buChar char="•"/>
            </a:pPr>
            <a:r>
              <a:rPr lang="en-US" sz="800" dirty="0" err="1">
                <a:latin typeface="Montserrat Medium" panose="00000600000000000000" pitchFamily="2" charset="0"/>
              </a:rPr>
              <a:t>McD</a:t>
            </a:r>
            <a:r>
              <a:rPr lang="en-US" sz="800" dirty="0">
                <a:latin typeface="Montserrat Medium" panose="00000600000000000000" pitchFamily="2" charset="0"/>
              </a:rPr>
              <a:t> Children to join directors meetings. </a:t>
            </a:r>
          </a:p>
          <a:p>
            <a:pPr marL="180975" indent="-180975">
              <a:spcBef>
                <a:spcPts val="400"/>
              </a:spcBef>
              <a:spcAft>
                <a:spcPts val="400"/>
              </a:spcAft>
              <a:buFont typeface="Arial" panose="020B0604020202020204" pitchFamily="34" charset="0"/>
              <a:buChar char="•"/>
            </a:pPr>
            <a:r>
              <a:rPr lang="en-AU" sz="800" dirty="0">
                <a:latin typeface="Montserrat Medium" panose="00000600000000000000" pitchFamily="2" charset="0"/>
              </a:rPr>
              <a:t>Prepare financial model for </a:t>
            </a:r>
            <a:r>
              <a:rPr lang="en-AU" sz="800" dirty="0" err="1">
                <a:latin typeface="Montserrat Medium" panose="00000600000000000000" pitchFamily="2" charset="0"/>
              </a:rPr>
              <a:t>McD</a:t>
            </a:r>
            <a:r>
              <a:rPr lang="en-AU" sz="800" dirty="0">
                <a:latin typeface="Montserrat Medium" panose="00000600000000000000" pitchFamily="2" charset="0"/>
              </a:rPr>
              <a:t> #1 and </a:t>
            </a:r>
            <a:r>
              <a:rPr lang="en-AU" sz="800" dirty="0" err="1">
                <a:latin typeface="Montserrat Medium" panose="00000600000000000000" pitchFamily="2" charset="0"/>
              </a:rPr>
              <a:t>McD</a:t>
            </a:r>
            <a:r>
              <a:rPr lang="en-AU" sz="800" dirty="0">
                <a:latin typeface="Montserrat Medium" panose="00000600000000000000" pitchFamily="2" charset="0"/>
              </a:rPr>
              <a:t> #2 to retire and understand exit financial requirements.</a:t>
            </a:r>
          </a:p>
          <a:p>
            <a:pPr marL="180975" indent="-180975">
              <a:spcBef>
                <a:spcPts val="400"/>
              </a:spcBef>
              <a:spcAft>
                <a:spcPts val="400"/>
              </a:spcAft>
              <a:buFont typeface="Arial" panose="020B0604020202020204" pitchFamily="34" charset="0"/>
              <a:buChar char="•"/>
            </a:pPr>
            <a:r>
              <a:rPr lang="en-AU" sz="800" dirty="0">
                <a:latin typeface="Montserrat Medium" panose="00000600000000000000" pitchFamily="2" charset="0"/>
              </a:rPr>
              <a:t>Commence new estate planning program for </a:t>
            </a:r>
            <a:r>
              <a:rPr lang="en-AU" sz="800" dirty="0" err="1">
                <a:latin typeface="Montserrat Medium" panose="00000600000000000000" pitchFamily="2" charset="0"/>
              </a:rPr>
              <a:t>McD</a:t>
            </a:r>
            <a:r>
              <a:rPr lang="en-AU" sz="800" dirty="0">
                <a:latin typeface="Montserrat Medium" panose="00000600000000000000" pitchFamily="2" charset="0"/>
              </a:rPr>
              <a:t> #1, </a:t>
            </a:r>
            <a:r>
              <a:rPr lang="en-AU" sz="800" dirty="0" err="1">
                <a:latin typeface="Montserrat Medium" panose="00000600000000000000" pitchFamily="2" charset="0"/>
              </a:rPr>
              <a:t>McD</a:t>
            </a:r>
            <a:r>
              <a:rPr lang="en-AU" sz="800" dirty="0">
                <a:latin typeface="Montserrat Medium" panose="00000600000000000000" pitchFamily="2" charset="0"/>
              </a:rPr>
              <a:t> #2, </a:t>
            </a:r>
            <a:r>
              <a:rPr lang="en-AU" sz="800" dirty="0" err="1">
                <a:latin typeface="Montserrat Medium" panose="00000600000000000000" pitchFamily="2" charset="0"/>
              </a:rPr>
              <a:t>McD</a:t>
            </a:r>
            <a:r>
              <a:rPr lang="en-AU" sz="800" dirty="0">
                <a:latin typeface="Montserrat Medium" panose="00000600000000000000" pitchFamily="2" charset="0"/>
              </a:rPr>
              <a:t> Children</a:t>
            </a:r>
          </a:p>
          <a:p>
            <a:pPr marL="180975" indent="-180975">
              <a:spcBef>
                <a:spcPts val="400"/>
              </a:spcBef>
              <a:spcAft>
                <a:spcPts val="400"/>
              </a:spcAft>
              <a:buFont typeface="Arial" panose="020B0604020202020204" pitchFamily="34" charset="0"/>
              <a:buChar char="•"/>
            </a:pPr>
            <a:r>
              <a:rPr lang="en-AU" sz="800" dirty="0">
                <a:latin typeface="Montserrat Medium" panose="00000600000000000000" pitchFamily="2" charset="0"/>
              </a:rPr>
              <a:t>Skills &amp; competencies gap analysis for </a:t>
            </a:r>
            <a:r>
              <a:rPr lang="en-AU" sz="800" dirty="0" err="1">
                <a:latin typeface="Montserrat Medium" panose="00000600000000000000" pitchFamily="2" charset="0"/>
              </a:rPr>
              <a:t>McD</a:t>
            </a:r>
            <a:r>
              <a:rPr lang="en-AU" sz="800" dirty="0">
                <a:latin typeface="Montserrat Medium" panose="00000600000000000000" pitchFamily="2" charset="0"/>
              </a:rPr>
              <a:t> Children. </a:t>
            </a:r>
          </a:p>
          <a:p>
            <a:pPr marL="180975" indent="-180975">
              <a:spcBef>
                <a:spcPts val="400"/>
              </a:spcBef>
              <a:spcAft>
                <a:spcPts val="400"/>
              </a:spcAft>
              <a:buFont typeface="Arial" panose="020B0604020202020204" pitchFamily="34" charset="0"/>
              <a:buChar char="•"/>
            </a:pPr>
            <a:r>
              <a:rPr lang="en-AU" sz="800" dirty="0">
                <a:latin typeface="Montserrat Medium" panose="00000600000000000000" pitchFamily="2" charset="0"/>
              </a:rPr>
              <a:t>Design training &amp; mentoring program for </a:t>
            </a:r>
            <a:r>
              <a:rPr lang="en-AU" sz="800" dirty="0" err="1">
                <a:latin typeface="Montserrat Medium" panose="00000600000000000000" pitchFamily="2" charset="0"/>
              </a:rPr>
              <a:t>McD</a:t>
            </a:r>
            <a:r>
              <a:rPr lang="en-AU" sz="800" dirty="0">
                <a:latin typeface="Montserrat Medium" panose="00000600000000000000" pitchFamily="2" charset="0"/>
              </a:rPr>
              <a:t> Children.</a:t>
            </a:r>
          </a:p>
          <a:p>
            <a:pPr marL="180975" indent="-180975">
              <a:spcBef>
                <a:spcPts val="400"/>
              </a:spcBef>
              <a:spcAft>
                <a:spcPts val="400"/>
              </a:spcAft>
              <a:buFont typeface="Arial" panose="020B0604020202020204" pitchFamily="34" charset="0"/>
              <a:buChar char="•"/>
            </a:pPr>
            <a:r>
              <a:rPr lang="en-AU" sz="800" dirty="0">
                <a:latin typeface="Montserrat Medium" panose="00000600000000000000" pitchFamily="2" charset="0"/>
              </a:rPr>
              <a:t>Consider design for Family Board </a:t>
            </a:r>
          </a:p>
          <a:p>
            <a:pPr marL="180975" indent="-180975">
              <a:spcBef>
                <a:spcPts val="400"/>
              </a:spcBef>
              <a:spcAft>
                <a:spcPts val="400"/>
              </a:spcAft>
              <a:buFont typeface="Arial" panose="020B0604020202020204" pitchFamily="34" charset="0"/>
              <a:buChar char="•"/>
            </a:pPr>
            <a:r>
              <a:rPr lang="en-AU" sz="800" dirty="0">
                <a:latin typeface="Montserrat Medium" panose="00000600000000000000" pitchFamily="2" charset="0"/>
              </a:rPr>
              <a:t>Start risk matrix </a:t>
            </a:r>
            <a:r>
              <a:rPr lang="en-AU" sz="800" dirty="0" err="1">
                <a:latin typeface="Montserrat Medium" panose="00000600000000000000" pitchFamily="2" charset="0"/>
              </a:rPr>
              <a:t>assessement</a:t>
            </a:r>
            <a:r>
              <a:rPr lang="en-AU" sz="800" dirty="0">
                <a:latin typeface="Montserrat Medium" panose="00000600000000000000" pitchFamily="2" charset="0"/>
              </a:rPr>
              <a:t>.</a:t>
            </a:r>
          </a:p>
          <a:p>
            <a:pPr marL="180975" indent="-180975">
              <a:spcBef>
                <a:spcPts val="400"/>
              </a:spcBef>
              <a:spcAft>
                <a:spcPts val="400"/>
              </a:spcAft>
              <a:buFont typeface="Arial" panose="020B0604020202020204" pitchFamily="34" charset="0"/>
              <a:buChar char="•"/>
            </a:pPr>
            <a:r>
              <a:rPr lang="en-AU" sz="800" dirty="0">
                <a:latin typeface="Montserrat Medium" panose="00000600000000000000" pitchFamily="2" charset="0"/>
              </a:rPr>
              <a:t>Insurance review – general, business &amp; key person</a:t>
            </a:r>
          </a:p>
          <a:p>
            <a:pPr marL="180975" indent="-180975">
              <a:spcBef>
                <a:spcPts val="400"/>
              </a:spcBef>
              <a:spcAft>
                <a:spcPts val="400"/>
              </a:spcAft>
              <a:buFont typeface="Arial" panose="020B0604020202020204" pitchFamily="34" charset="0"/>
              <a:buChar char="•"/>
            </a:pPr>
            <a:endParaRPr lang="en-AU" sz="800" dirty="0">
              <a:latin typeface="Montserrat Medium" panose="00000600000000000000" pitchFamily="2" charset="0"/>
            </a:endParaRPr>
          </a:p>
        </p:txBody>
      </p:sp>
      <p:sp>
        <p:nvSpPr>
          <p:cNvPr id="76" name="TextBox 75">
            <a:extLst>
              <a:ext uri="{FF2B5EF4-FFF2-40B4-BE49-F238E27FC236}">
                <a16:creationId xmlns:a16="http://schemas.microsoft.com/office/drawing/2014/main" id="{E55C9C98-B710-6180-789E-91847A4B845C}"/>
              </a:ext>
            </a:extLst>
          </p:cNvPr>
          <p:cNvSpPr txBox="1"/>
          <p:nvPr/>
        </p:nvSpPr>
        <p:spPr>
          <a:xfrm>
            <a:off x="3328950" y="2822857"/>
            <a:ext cx="2078989" cy="4031873"/>
          </a:xfrm>
          <a:prstGeom prst="rect">
            <a:avLst/>
          </a:prstGeom>
          <a:noFill/>
        </p:spPr>
        <p:txBody>
          <a:bodyPr wrap="square" rtlCol="0">
            <a:spAutoFit/>
          </a:bodyPr>
          <a:lstStyle/>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Start Financial Model for business to achieve succession plan.</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Develop financial reporting model for business with </a:t>
            </a: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Children</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Risk management matrix assessment finalised with </a:t>
            </a: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1, </a:t>
            </a: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2, </a:t>
            </a: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children &amp; key team members.</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Group structure review – is it fit for purpose? Investigate tax costs &amp; duty consequences associated with identified options.</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Roles &amp; responsibilities defined for </a:t>
            </a: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1, </a:t>
            </a: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2, </a:t>
            </a: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Children &amp; key team members – identify &amp; design transition plan for future – remuneration plan</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Business advisory board established – meeting cadence &amp; standing items for discussion &amp; decision agreed</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Estate planning &amp; business succession documents drafted &amp; reviewed</a:t>
            </a:r>
          </a:p>
        </p:txBody>
      </p:sp>
      <p:sp>
        <p:nvSpPr>
          <p:cNvPr id="78" name="TextBox 77">
            <a:extLst>
              <a:ext uri="{FF2B5EF4-FFF2-40B4-BE49-F238E27FC236}">
                <a16:creationId xmlns:a16="http://schemas.microsoft.com/office/drawing/2014/main" id="{804C8560-70EF-7EF8-8FC2-02CA86AAF06B}"/>
              </a:ext>
            </a:extLst>
          </p:cNvPr>
          <p:cNvSpPr txBox="1"/>
          <p:nvPr/>
        </p:nvSpPr>
        <p:spPr>
          <a:xfrm>
            <a:off x="5504420" y="2822857"/>
            <a:ext cx="2078989" cy="3888244"/>
          </a:xfrm>
          <a:prstGeom prst="rect">
            <a:avLst/>
          </a:prstGeom>
          <a:noFill/>
        </p:spPr>
        <p:txBody>
          <a:bodyPr wrap="square" rtlCol="0">
            <a:spAutoFit/>
          </a:bodyPr>
          <a:lstStyle/>
          <a:p>
            <a:pPr marL="180975" indent="-180975">
              <a:spcBef>
                <a:spcPts val="400"/>
              </a:spcBef>
              <a:spcAft>
                <a:spcPts val="400"/>
              </a:spcAft>
              <a:buFont typeface="Arial" panose="020B0604020202020204" pitchFamily="34" charset="0"/>
              <a:buChar char="•"/>
            </a:pPr>
            <a:r>
              <a:rPr lang="en-AU" sz="800" err="1">
                <a:solidFill>
                  <a:schemeClr val="bg1"/>
                </a:solidFill>
                <a:latin typeface="Montserrat Medium" panose="00000600000000000000" pitchFamily="2" charset="0"/>
              </a:rPr>
              <a:t>McD</a:t>
            </a:r>
            <a:r>
              <a:rPr lang="en-AU" sz="800">
                <a:solidFill>
                  <a:schemeClr val="bg1"/>
                </a:solidFill>
                <a:latin typeface="Montserrat Medium" panose="00000600000000000000" pitchFamily="2" charset="0"/>
              </a:rPr>
              <a:t> Children skills &amp; competency program check in &amp; any adjustments made – ongoing mentoring &amp; accountability</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Income, equity &amp; control plan design drafted – timelines discussed &amp; agreed including plans for key staff members.</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Family meeting – communicate estate &amp; business succession plan</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Estate planning &amp; business succession documents executed</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Business advisory board  operating</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Risk management matrix progress check in &amp; any adjustments made</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Complete Financial Model &amp; Options Plan for business to achieve succession plan.</a:t>
            </a:r>
          </a:p>
          <a:p>
            <a:pPr marL="180975" indent="-180975">
              <a:spcBef>
                <a:spcPts val="400"/>
              </a:spcBef>
              <a:spcAft>
                <a:spcPts val="400"/>
              </a:spcAft>
              <a:buFont typeface="Arial" panose="020B0604020202020204" pitchFamily="34" charset="0"/>
              <a:buChar char="•"/>
            </a:pPr>
            <a:r>
              <a:rPr lang="en-AU" sz="800">
                <a:solidFill>
                  <a:schemeClr val="bg1"/>
                </a:solidFill>
                <a:latin typeface="Montserrat Medium" panose="00000600000000000000" pitchFamily="2" charset="0"/>
              </a:rPr>
              <a:t>Personal guarantees &amp; warranties register – design transition plan.</a:t>
            </a:r>
          </a:p>
        </p:txBody>
      </p:sp>
      <p:sp>
        <p:nvSpPr>
          <p:cNvPr id="106" name="object 74"/>
          <p:cNvSpPr/>
          <p:nvPr/>
        </p:nvSpPr>
        <p:spPr>
          <a:xfrm>
            <a:off x="820987" y="1690109"/>
            <a:ext cx="273050" cy="0"/>
          </a:xfrm>
          <a:custGeom>
            <a:avLst/>
            <a:gdLst/>
            <a:ahLst/>
            <a:cxnLst/>
            <a:rect l="l" t="t" r="r" b="b"/>
            <a:pathLst>
              <a:path w="273050">
                <a:moveTo>
                  <a:pt x="0" y="0"/>
                </a:moveTo>
                <a:lnTo>
                  <a:pt x="272486" y="0"/>
                </a:lnTo>
              </a:path>
            </a:pathLst>
          </a:custGeom>
          <a:ln w="15866">
            <a:solidFill>
              <a:srgbClr val="B68150"/>
            </a:solidFill>
          </a:ln>
        </p:spPr>
        <p:txBody>
          <a:bodyPr wrap="square" lIns="0" tIns="0" rIns="0" bIns="0" rtlCol="0"/>
          <a:lstStyle/>
          <a:p>
            <a:endParaRPr/>
          </a:p>
        </p:txBody>
      </p:sp>
      <p:grpSp>
        <p:nvGrpSpPr>
          <p:cNvPr id="11" name="Group 10">
            <a:extLst>
              <a:ext uri="{FF2B5EF4-FFF2-40B4-BE49-F238E27FC236}">
                <a16:creationId xmlns:a16="http://schemas.microsoft.com/office/drawing/2014/main" id="{73805D5C-8FC9-E8F0-C6E6-93941F1EEF1A}"/>
              </a:ext>
            </a:extLst>
          </p:cNvPr>
          <p:cNvGrpSpPr/>
          <p:nvPr/>
        </p:nvGrpSpPr>
        <p:grpSpPr>
          <a:xfrm>
            <a:off x="7594917" y="2276200"/>
            <a:ext cx="2078989" cy="4883902"/>
            <a:chOff x="7641893" y="2323347"/>
            <a:chExt cx="2078989" cy="4883902"/>
          </a:xfrm>
        </p:grpSpPr>
        <p:sp>
          <p:nvSpPr>
            <p:cNvPr id="7" name="object 37">
              <a:extLst>
                <a:ext uri="{FF2B5EF4-FFF2-40B4-BE49-F238E27FC236}">
                  <a16:creationId xmlns:a16="http://schemas.microsoft.com/office/drawing/2014/main" id="{1E93FB47-E598-C578-9A1B-F6356B99C30B}"/>
                </a:ext>
              </a:extLst>
            </p:cNvPr>
            <p:cNvSpPr/>
            <p:nvPr/>
          </p:nvSpPr>
          <p:spPr>
            <a:xfrm>
              <a:off x="7641893" y="2323347"/>
              <a:ext cx="2078989" cy="4883902"/>
            </a:xfrm>
            <a:custGeom>
              <a:avLst/>
              <a:gdLst/>
              <a:ahLst/>
              <a:cxnLst/>
              <a:rect l="l" t="t" r="r" b="b"/>
              <a:pathLst>
                <a:path w="2078990" h="4334509">
                  <a:moveTo>
                    <a:pt x="1982876" y="0"/>
                  </a:moveTo>
                  <a:lnTo>
                    <a:pt x="95783" y="0"/>
                  </a:lnTo>
                  <a:lnTo>
                    <a:pt x="58501" y="7527"/>
                  </a:lnTo>
                  <a:lnTo>
                    <a:pt x="28055" y="28055"/>
                  </a:lnTo>
                  <a:lnTo>
                    <a:pt x="7527" y="58501"/>
                  </a:lnTo>
                  <a:lnTo>
                    <a:pt x="0" y="95783"/>
                  </a:lnTo>
                  <a:lnTo>
                    <a:pt x="0" y="4238307"/>
                  </a:lnTo>
                  <a:lnTo>
                    <a:pt x="7527" y="4275588"/>
                  </a:lnTo>
                  <a:lnTo>
                    <a:pt x="28055" y="4306035"/>
                  </a:lnTo>
                  <a:lnTo>
                    <a:pt x="58501" y="4326563"/>
                  </a:lnTo>
                  <a:lnTo>
                    <a:pt x="95783" y="4334090"/>
                  </a:lnTo>
                  <a:lnTo>
                    <a:pt x="1982876" y="4334090"/>
                  </a:lnTo>
                  <a:lnTo>
                    <a:pt x="2020157" y="4326563"/>
                  </a:lnTo>
                  <a:lnTo>
                    <a:pt x="2050603" y="4306035"/>
                  </a:lnTo>
                  <a:lnTo>
                    <a:pt x="2071132" y="4275588"/>
                  </a:lnTo>
                  <a:lnTo>
                    <a:pt x="2078659" y="4238307"/>
                  </a:lnTo>
                  <a:lnTo>
                    <a:pt x="2078659" y="95783"/>
                  </a:lnTo>
                  <a:lnTo>
                    <a:pt x="2071132" y="58501"/>
                  </a:lnTo>
                  <a:lnTo>
                    <a:pt x="2050603" y="28055"/>
                  </a:lnTo>
                  <a:lnTo>
                    <a:pt x="2020157" y="7527"/>
                  </a:lnTo>
                  <a:lnTo>
                    <a:pt x="1982876" y="0"/>
                  </a:lnTo>
                  <a:close/>
                </a:path>
              </a:pathLst>
            </a:custGeom>
            <a:solidFill>
              <a:srgbClr val="2E3842"/>
            </a:solidFill>
          </p:spPr>
          <p:txBody>
            <a:bodyPr wrap="square" lIns="0" tIns="0" rIns="0" bIns="0" rtlCol="0"/>
            <a:lstStyle/>
            <a:p>
              <a:endParaRPr/>
            </a:p>
          </p:txBody>
        </p:sp>
        <p:sp>
          <p:nvSpPr>
            <p:cNvPr id="79" name="TextBox 78">
              <a:extLst>
                <a:ext uri="{FF2B5EF4-FFF2-40B4-BE49-F238E27FC236}">
                  <a16:creationId xmlns:a16="http://schemas.microsoft.com/office/drawing/2014/main" id="{D0FFD81E-74BB-58B0-F48B-C0EF6B47933F}"/>
                </a:ext>
              </a:extLst>
            </p:cNvPr>
            <p:cNvSpPr txBox="1"/>
            <p:nvPr/>
          </p:nvSpPr>
          <p:spPr>
            <a:xfrm>
              <a:off x="7696328" y="2337414"/>
              <a:ext cx="1965338" cy="4869835"/>
            </a:xfrm>
            <a:prstGeom prst="roundRect">
              <a:avLst/>
            </a:prstGeom>
            <a:solidFill>
              <a:srgbClr val="2E3842"/>
            </a:solidFill>
          </p:spPr>
          <p:txBody>
            <a:bodyPr wrap="square" rtlCol="0">
              <a:spAutoFit/>
            </a:bodyPr>
            <a:lstStyle/>
            <a:p>
              <a:pPr marL="180975" indent="-180975">
                <a:spcBef>
                  <a:spcPts val="400"/>
                </a:spcBef>
                <a:spcAft>
                  <a:spcPts val="400"/>
                </a:spcAft>
                <a:buFont typeface="Arial" panose="020B0604020202020204" pitchFamily="34" charset="0"/>
                <a:buChar char="•"/>
              </a:pPr>
              <a:endParaRPr lang="en-AU" sz="800" dirty="0">
                <a:solidFill>
                  <a:schemeClr val="bg1"/>
                </a:solidFill>
                <a:latin typeface="Montserrat Medium" panose="00000600000000000000" pitchFamily="2" charset="0"/>
              </a:endParaRPr>
            </a:p>
            <a:p>
              <a:pPr marL="180975" indent="-180975">
                <a:spcBef>
                  <a:spcPts val="400"/>
                </a:spcBef>
                <a:spcAft>
                  <a:spcPts val="400"/>
                </a:spcAft>
                <a:buFont typeface="Arial" panose="020B0604020202020204" pitchFamily="34" charset="0"/>
                <a:buChar char="•"/>
              </a:pPr>
              <a:endParaRPr lang="en-AU" sz="800" dirty="0">
                <a:solidFill>
                  <a:schemeClr val="bg1"/>
                </a:solidFill>
                <a:latin typeface="Montserrat Medium" panose="00000600000000000000" pitchFamily="2" charset="0"/>
              </a:endParaRP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Income, equity &amp; control plan implementation underway</a:t>
              </a: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Strong financial reporting across total business operations</a:t>
              </a: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Business advisory board  functioning well</a:t>
              </a: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Risk management matrix progress check in &amp; any adjustments made</a:t>
              </a:r>
            </a:p>
            <a:p>
              <a:pPr marL="180975" indent="-180975">
                <a:spcBef>
                  <a:spcPts val="400"/>
                </a:spcBef>
                <a:spcAft>
                  <a:spcPts val="400"/>
                </a:spcAft>
                <a:buFont typeface="Arial" panose="020B0604020202020204" pitchFamily="34" charset="0"/>
                <a:buChar char="•"/>
              </a:pPr>
              <a:r>
                <a:rPr lang="en-AU" sz="800" dirty="0" err="1">
                  <a:solidFill>
                    <a:schemeClr val="bg1"/>
                  </a:solidFill>
                  <a:latin typeface="Montserrat Medium" panose="00000600000000000000" pitchFamily="2" charset="0"/>
                </a:rPr>
                <a:t>McD</a:t>
              </a:r>
              <a:r>
                <a:rPr lang="en-AU" sz="800" dirty="0">
                  <a:solidFill>
                    <a:schemeClr val="bg1"/>
                  </a:solidFill>
                  <a:latin typeface="Montserrat Medium" panose="00000600000000000000" pitchFamily="2" charset="0"/>
                </a:rPr>
                <a:t> Children skills &amp; competency program check in &amp; any adjustments made – ongoing mentoring &amp; accountability</a:t>
              </a: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Family feeling confident &amp; on track</a:t>
              </a: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Financial Model &amp; Options Plan implementation underway for business to achieve succession plan</a:t>
              </a: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Group Structure review completed.</a:t>
              </a:r>
            </a:p>
            <a:p>
              <a:pPr marL="180975" indent="-180975">
                <a:spcBef>
                  <a:spcPts val="400"/>
                </a:spcBef>
                <a:spcAft>
                  <a:spcPts val="400"/>
                </a:spcAft>
                <a:buFont typeface="Arial" panose="020B0604020202020204" pitchFamily="34" charset="0"/>
                <a:buChar char="•"/>
              </a:pPr>
              <a:r>
                <a:rPr lang="en-AU" sz="800" dirty="0">
                  <a:solidFill>
                    <a:schemeClr val="bg1"/>
                  </a:solidFill>
                  <a:latin typeface="Montserrat Medium" panose="00000600000000000000" pitchFamily="2" charset="0"/>
                </a:rPr>
                <a:t>Key team member retention strategies</a:t>
              </a:r>
            </a:p>
          </p:txBody>
        </p:sp>
      </p:grpSp>
      <p:sp>
        <p:nvSpPr>
          <p:cNvPr id="2" name="object 2"/>
          <p:cNvSpPr txBox="1"/>
          <p:nvPr/>
        </p:nvSpPr>
        <p:spPr>
          <a:xfrm>
            <a:off x="7860710" y="2387628"/>
            <a:ext cx="1594485" cy="444500"/>
          </a:xfrm>
          <a:prstGeom prst="rect">
            <a:avLst/>
          </a:prstGeom>
          <a:solidFill>
            <a:srgbClr val="2E3842"/>
          </a:solidFill>
        </p:spPr>
        <p:txBody>
          <a:bodyPr vert="horz" wrap="square" lIns="0" tIns="81280" rIns="0" bIns="0" rtlCol="0">
            <a:spAutoFit/>
          </a:bodyPr>
          <a:lstStyle/>
          <a:p>
            <a:pPr marL="12700">
              <a:lnSpc>
                <a:spcPct val="100000"/>
              </a:lnSpc>
              <a:spcBef>
                <a:spcPts val="640"/>
              </a:spcBef>
            </a:pPr>
            <a:r>
              <a:rPr sz="1200" b="1" dirty="0">
                <a:solidFill>
                  <a:srgbClr val="FFFFFF"/>
                </a:solidFill>
                <a:latin typeface="Montserrat"/>
                <a:cs typeface="Montserrat"/>
              </a:rPr>
              <a:t>FOURTH</a:t>
            </a:r>
            <a:r>
              <a:rPr sz="1200" b="1" spc="340" dirty="0">
                <a:solidFill>
                  <a:srgbClr val="FFFFFF"/>
                </a:solidFill>
                <a:latin typeface="Montserrat"/>
                <a:cs typeface="Montserrat"/>
              </a:rPr>
              <a:t> </a:t>
            </a:r>
            <a:r>
              <a:rPr sz="1200" spc="-10" dirty="0">
                <a:solidFill>
                  <a:srgbClr val="FFFFFF"/>
                </a:solidFill>
                <a:latin typeface="Montserrat"/>
                <a:cs typeface="Montserrat"/>
              </a:rPr>
              <a:t>QUARTER</a:t>
            </a:r>
            <a:endParaRPr sz="1200" dirty="0">
              <a:latin typeface="Montserrat"/>
              <a:cs typeface="Montserrat"/>
            </a:endParaRPr>
          </a:p>
          <a:p>
            <a:pPr marL="12700">
              <a:lnSpc>
                <a:spcPct val="100000"/>
              </a:lnSpc>
              <a:spcBef>
                <a:spcPts val="360"/>
              </a:spcBef>
            </a:pPr>
            <a:r>
              <a:rPr sz="800" b="1" spc="-10" dirty="0">
                <a:solidFill>
                  <a:srgbClr val="B68150"/>
                </a:solidFill>
                <a:latin typeface="Montserrat"/>
                <a:cs typeface="Montserrat"/>
              </a:rPr>
              <a:t>December</a:t>
            </a:r>
            <a:r>
              <a:rPr lang="en-AU" sz="800" b="1" spc="-10" dirty="0">
                <a:solidFill>
                  <a:srgbClr val="B68150"/>
                </a:solidFill>
                <a:latin typeface="Montserrat"/>
                <a:cs typeface="Montserrat"/>
              </a:rPr>
              <a:t> to February</a:t>
            </a:r>
            <a:endParaRPr sz="800" dirty="0">
              <a:latin typeface="Montserrat"/>
              <a:cs typeface="Montserrat"/>
            </a:endParaRPr>
          </a:p>
        </p:txBody>
      </p:sp>
      <p:sp>
        <p:nvSpPr>
          <p:cNvPr id="9" name="Slide Number Placeholder 3">
            <a:extLst>
              <a:ext uri="{FF2B5EF4-FFF2-40B4-BE49-F238E27FC236}">
                <a16:creationId xmlns:a16="http://schemas.microsoft.com/office/drawing/2014/main" id="{90FFA24D-981C-5143-6678-AE4275013EE8}"/>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39</a:t>
            </a:fld>
            <a:endParaRPr lang="en-AU" dirty="0"/>
          </a:p>
        </p:txBody>
      </p:sp>
    </p:spTree>
    <p:extLst>
      <p:ext uri="{BB962C8B-B14F-4D97-AF65-F5344CB8AC3E}">
        <p14:creationId xmlns:p14="http://schemas.microsoft.com/office/powerpoint/2010/main" val="1084171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3D357-4CE9-548C-5AA6-32C4AF7A8BBD}"/>
              </a:ext>
            </a:extLst>
          </p:cNvPr>
          <p:cNvSpPr>
            <a:spLocks noGrp="1"/>
          </p:cNvSpPr>
          <p:nvPr>
            <p:ph type="title"/>
          </p:nvPr>
        </p:nvSpPr>
        <p:spPr>
          <a:xfrm>
            <a:off x="960595" y="844460"/>
            <a:ext cx="1871506" cy="342990"/>
          </a:xfrm>
        </p:spPr>
        <p:txBody>
          <a:bodyPr/>
          <a:lstStyle/>
          <a:p>
            <a:r>
              <a:rPr lang="en-AU" dirty="0"/>
              <a:t>SAN Adviser</a:t>
            </a:r>
          </a:p>
        </p:txBody>
      </p:sp>
      <p:graphicFrame>
        <p:nvGraphicFramePr>
          <p:cNvPr id="4" name="Table 3">
            <a:extLst>
              <a:ext uri="{FF2B5EF4-FFF2-40B4-BE49-F238E27FC236}">
                <a16:creationId xmlns:a16="http://schemas.microsoft.com/office/drawing/2014/main" id="{E4F713A7-38C1-4E8B-650D-09E2D73794E2}"/>
              </a:ext>
            </a:extLst>
          </p:cNvPr>
          <p:cNvGraphicFramePr>
            <a:graphicFrameLocks noGrp="1"/>
          </p:cNvGraphicFramePr>
          <p:nvPr/>
        </p:nvGraphicFramePr>
        <p:xfrm>
          <a:off x="2421653" y="1279552"/>
          <a:ext cx="7827665" cy="4890133"/>
        </p:xfrm>
        <a:graphic>
          <a:graphicData uri="http://schemas.openxmlformats.org/drawingml/2006/table">
            <a:tbl>
              <a:tblPr firstRow="1" bandRow="1">
                <a:tableStyleId>{5C22544A-7EE6-4342-B048-85BDC9FD1C3A}</a:tableStyleId>
              </a:tblPr>
              <a:tblGrid>
                <a:gridCol w="3000873">
                  <a:extLst>
                    <a:ext uri="{9D8B030D-6E8A-4147-A177-3AD203B41FA5}">
                      <a16:colId xmlns:a16="http://schemas.microsoft.com/office/drawing/2014/main" val="4019851172"/>
                    </a:ext>
                  </a:extLst>
                </a:gridCol>
                <a:gridCol w="897323">
                  <a:extLst>
                    <a:ext uri="{9D8B030D-6E8A-4147-A177-3AD203B41FA5}">
                      <a16:colId xmlns:a16="http://schemas.microsoft.com/office/drawing/2014/main" val="727019017"/>
                    </a:ext>
                  </a:extLst>
                </a:gridCol>
                <a:gridCol w="1363090">
                  <a:extLst>
                    <a:ext uri="{9D8B030D-6E8A-4147-A177-3AD203B41FA5}">
                      <a16:colId xmlns:a16="http://schemas.microsoft.com/office/drawing/2014/main" val="230825123"/>
                    </a:ext>
                  </a:extLst>
                </a:gridCol>
                <a:gridCol w="1256556">
                  <a:extLst>
                    <a:ext uri="{9D8B030D-6E8A-4147-A177-3AD203B41FA5}">
                      <a16:colId xmlns:a16="http://schemas.microsoft.com/office/drawing/2014/main" val="2853734204"/>
                    </a:ext>
                  </a:extLst>
                </a:gridCol>
                <a:gridCol w="1309823">
                  <a:extLst>
                    <a:ext uri="{9D8B030D-6E8A-4147-A177-3AD203B41FA5}">
                      <a16:colId xmlns:a16="http://schemas.microsoft.com/office/drawing/2014/main" val="1118551088"/>
                    </a:ext>
                  </a:extLst>
                </a:gridCol>
              </a:tblGrid>
              <a:tr h="434398">
                <a:tc>
                  <a:txBody>
                    <a:bodyPr/>
                    <a:lstStyle/>
                    <a:p>
                      <a:pPr algn="ctr"/>
                      <a:r>
                        <a:rPr lang="en-AU" sz="900" dirty="0">
                          <a:solidFill>
                            <a:srgbClr val="2E3842"/>
                          </a:solidFill>
                          <a:latin typeface="Montserrat" pitchFamily="2" charset="0"/>
                        </a:rPr>
                        <a:t>Knowledge/Skill Set</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AU" sz="900" dirty="0">
                          <a:solidFill>
                            <a:srgbClr val="2E3842"/>
                          </a:solidFill>
                          <a:latin typeface="Montserrat" pitchFamily="2" charset="0"/>
                        </a:rPr>
                        <a:t>Generalist Adviser</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AU" sz="900" dirty="0">
                          <a:solidFill>
                            <a:srgbClr val="2E3842"/>
                          </a:solidFill>
                          <a:latin typeface="Montserrat" pitchFamily="2" charset="0"/>
                        </a:rPr>
                        <a:t>Significant Adviser</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rgbClr val="2E3842"/>
                        </a:solidFill>
                        <a:latin typeface="Montserrat" pitchFamily="2" charset="0"/>
                      </a:endParaRPr>
                    </a:p>
                    <a:p>
                      <a:pPr algn="ctr"/>
                      <a:r>
                        <a:rPr lang="en-AU" sz="900" dirty="0">
                          <a:solidFill>
                            <a:srgbClr val="2E3842"/>
                          </a:solidFill>
                          <a:latin typeface="Montserrat" pitchFamily="2" charset="0"/>
                        </a:rPr>
                        <a:t>Competent</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rgbClr val="2E3842"/>
                        </a:solidFill>
                        <a:latin typeface="Montserrat" pitchFamily="2" charset="0"/>
                      </a:endParaRPr>
                    </a:p>
                    <a:p>
                      <a:pPr algn="ctr"/>
                      <a:r>
                        <a:rPr lang="en-AU" sz="900" dirty="0">
                          <a:solidFill>
                            <a:srgbClr val="2E3842"/>
                          </a:solidFill>
                          <a:latin typeface="Montserrat" pitchFamily="2" charset="0"/>
                        </a:rPr>
                        <a:t>Needs Work</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6721107"/>
                  </a:ext>
                </a:extLst>
              </a:tr>
              <a:tr h="297049">
                <a:tc>
                  <a:txBody>
                    <a:bodyPr/>
                    <a:lstStyle/>
                    <a:p>
                      <a:r>
                        <a:rPr lang="en-AU" sz="900" dirty="0">
                          <a:solidFill>
                            <a:srgbClr val="2E3842"/>
                          </a:solidFill>
                          <a:latin typeface="Montserrat" pitchFamily="2" charset="0"/>
                        </a:rPr>
                        <a:t>Superannuation </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4084923"/>
                  </a:ext>
                </a:extLst>
              </a:tr>
              <a:tr h="297049">
                <a:tc>
                  <a:txBody>
                    <a:bodyPr/>
                    <a:lstStyle/>
                    <a:p>
                      <a:r>
                        <a:rPr lang="en-AU" sz="900" dirty="0">
                          <a:solidFill>
                            <a:srgbClr val="2E3842"/>
                          </a:solidFill>
                          <a:latin typeface="Montserrat" pitchFamily="2" charset="0"/>
                        </a:rPr>
                        <a:t>Pension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1830"/>
                  </a:ext>
                </a:extLst>
              </a:tr>
              <a:tr h="297049">
                <a:tc>
                  <a:txBody>
                    <a:bodyPr/>
                    <a:lstStyle/>
                    <a:p>
                      <a:r>
                        <a:rPr lang="en-AU" sz="900" dirty="0">
                          <a:solidFill>
                            <a:srgbClr val="2E3842"/>
                          </a:solidFill>
                          <a:latin typeface="Montserrat" pitchFamily="2" charset="0"/>
                        </a:rPr>
                        <a:t>Cash Flow Analysi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81550650"/>
                  </a:ext>
                </a:extLst>
              </a:tr>
              <a:tr h="297049">
                <a:tc>
                  <a:txBody>
                    <a:bodyPr/>
                    <a:lstStyle/>
                    <a:p>
                      <a:r>
                        <a:rPr lang="en-AU" sz="900" dirty="0">
                          <a:solidFill>
                            <a:srgbClr val="2E3842"/>
                          </a:solidFill>
                          <a:latin typeface="Montserrat" pitchFamily="2" charset="0"/>
                        </a:rPr>
                        <a:t>Investment Decision Making</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5037022"/>
                  </a:ext>
                </a:extLst>
              </a:tr>
              <a:tr h="297049">
                <a:tc>
                  <a:txBody>
                    <a:bodyPr/>
                    <a:lstStyle/>
                    <a:p>
                      <a:r>
                        <a:rPr lang="en-AU" sz="900" dirty="0">
                          <a:solidFill>
                            <a:srgbClr val="2E3842"/>
                          </a:solidFill>
                          <a:latin typeface="Montserrat" pitchFamily="2" charset="0"/>
                        </a:rPr>
                        <a:t>Risk &amp; Investment Analysi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84351"/>
                  </a:ext>
                </a:extLst>
              </a:tr>
              <a:tr h="297049">
                <a:tc>
                  <a:txBody>
                    <a:bodyPr/>
                    <a:lstStyle/>
                    <a:p>
                      <a:r>
                        <a:rPr lang="en-AU" sz="900" dirty="0">
                          <a:solidFill>
                            <a:srgbClr val="2E3842"/>
                          </a:solidFill>
                          <a:latin typeface="Montserrat" pitchFamily="2" charset="0"/>
                        </a:rPr>
                        <a:t>Estate Planning – BASIC</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3541261"/>
                  </a:ext>
                </a:extLst>
              </a:tr>
              <a:tr h="297049">
                <a:tc>
                  <a:txBody>
                    <a:bodyPr/>
                    <a:lstStyle/>
                    <a:p>
                      <a:r>
                        <a:rPr lang="en-AU" sz="900" dirty="0">
                          <a:solidFill>
                            <a:srgbClr val="2E3842"/>
                          </a:solidFill>
                          <a:latin typeface="Montserrat" pitchFamily="2" charset="0"/>
                        </a:rPr>
                        <a:t>Business Valuation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8651370"/>
                  </a:ext>
                </a:extLst>
              </a:tr>
              <a:tr h="297049">
                <a:tc>
                  <a:txBody>
                    <a:bodyPr/>
                    <a:lstStyle/>
                    <a:p>
                      <a:r>
                        <a:rPr lang="en-AU" sz="900" dirty="0">
                          <a:solidFill>
                            <a:srgbClr val="2E3842"/>
                          </a:solidFill>
                          <a:latin typeface="Montserrat" pitchFamily="2" charset="0"/>
                        </a:rPr>
                        <a:t>IQ</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299573"/>
                  </a:ext>
                </a:extLst>
              </a:tr>
              <a:tr h="297049">
                <a:tc>
                  <a:txBody>
                    <a:bodyPr/>
                    <a:lstStyle/>
                    <a:p>
                      <a:r>
                        <a:rPr lang="en-AU" sz="900" dirty="0">
                          <a:solidFill>
                            <a:srgbClr val="2E3842"/>
                          </a:solidFill>
                          <a:latin typeface="Montserrat" pitchFamily="2" charset="0"/>
                        </a:rPr>
                        <a:t>EQ - BASIC</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23724876"/>
                  </a:ext>
                </a:extLst>
              </a:tr>
              <a:tr h="297049">
                <a:tc>
                  <a:txBody>
                    <a:bodyPr/>
                    <a:lstStyle/>
                    <a:p>
                      <a:pPr marL="0" indent="0">
                        <a:buFont typeface="Arial" panose="020B0604020202020204" pitchFamily="34" charset="0"/>
                        <a:buNone/>
                      </a:pPr>
                      <a:r>
                        <a:rPr lang="en-AU" sz="900" dirty="0">
                          <a:solidFill>
                            <a:srgbClr val="2E3842"/>
                          </a:solidFill>
                          <a:latin typeface="Montserrat" pitchFamily="2" charset="0"/>
                        </a:rPr>
                        <a:t>Tax – BASIC</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buFont typeface="Arial" panose="020B0604020202020204" pitchFamily="34" charset="0"/>
                        <a:buNone/>
                      </a:pP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marL="0" indent="0" algn="ctr">
                        <a:buFont typeface="Arial" panose="020B0604020202020204" pitchFamily="34" charset="0"/>
                        <a:buNone/>
                      </a:pP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marL="171450" indent="-171450" algn="ctr">
                        <a:buFont typeface="Arial" panose="020B0604020202020204" pitchFamily="34" charset="0"/>
                        <a:buChar char="•"/>
                      </a:pP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ctr">
                        <a:buFont typeface="Arial" panose="020B0604020202020204" pitchFamily="34" charset="0"/>
                        <a:buChar char="•"/>
                      </a:pP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7215593"/>
                  </a:ext>
                </a:extLst>
              </a:tr>
              <a:tr h="297049">
                <a:tc>
                  <a:txBody>
                    <a:bodyPr/>
                    <a:lstStyle/>
                    <a:p>
                      <a:r>
                        <a:rPr lang="en-AU" sz="900" dirty="0">
                          <a:solidFill>
                            <a:srgbClr val="2E3842"/>
                          </a:solidFill>
                          <a:latin typeface="Montserrat" pitchFamily="2" charset="0"/>
                        </a:rPr>
                        <a:t>Balance Sheet</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464595"/>
                  </a:ext>
                </a:extLst>
              </a:tr>
              <a:tr h="297049">
                <a:tc>
                  <a:txBody>
                    <a:bodyPr/>
                    <a:lstStyle/>
                    <a:p>
                      <a:r>
                        <a:rPr lang="en-AU" sz="900" dirty="0">
                          <a:solidFill>
                            <a:srgbClr val="2E3842"/>
                          </a:solidFill>
                          <a:latin typeface="Montserrat" pitchFamily="2" charset="0"/>
                        </a:rPr>
                        <a:t>Negotiation skill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5047734"/>
                  </a:ext>
                </a:extLst>
              </a:tr>
              <a:tr h="297049">
                <a:tc>
                  <a:txBody>
                    <a:bodyPr/>
                    <a:lstStyle/>
                    <a:p>
                      <a:r>
                        <a:rPr lang="en-AU" sz="900" dirty="0">
                          <a:solidFill>
                            <a:srgbClr val="2E3842"/>
                          </a:solidFill>
                          <a:latin typeface="Montserrat" pitchFamily="2" charset="0"/>
                        </a:rPr>
                        <a:t>Visioning skill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4297797"/>
                  </a:ext>
                </a:extLst>
              </a:tr>
              <a:tr h="297049">
                <a:tc>
                  <a:txBody>
                    <a:bodyPr/>
                    <a:lstStyle/>
                    <a:p>
                      <a:r>
                        <a:rPr lang="en-AU" sz="900" dirty="0">
                          <a:solidFill>
                            <a:srgbClr val="2E3842"/>
                          </a:solidFill>
                          <a:latin typeface="Montserrat" pitchFamily="2" charset="0"/>
                        </a:rPr>
                        <a:t>Intergenerational mindset</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5084765"/>
                  </a:ext>
                </a:extLst>
              </a:tr>
              <a:tr h="297049">
                <a:tc>
                  <a:txBody>
                    <a:bodyPr/>
                    <a:lstStyle/>
                    <a:p>
                      <a:r>
                        <a:rPr lang="en-AU" sz="900" dirty="0">
                          <a:solidFill>
                            <a:srgbClr val="2E3842"/>
                          </a:solidFill>
                          <a:latin typeface="Montserrat" pitchFamily="2" charset="0"/>
                        </a:rPr>
                        <a:t>Insurance</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5792385"/>
                  </a:ext>
                </a:extLst>
              </a:tr>
            </a:tbl>
          </a:graphicData>
        </a:graphic>
      </p:graphicFrame>
      <p:sp>
        <p:nvSpPr>
          <p:cNvPr id="5" name="Rectangle 4">
            <a:extLst>
              <a:ext uri="{FF2B5EF4-FFF2-40B4-BE49-F238E27FC236}">
                <a16:creationId xmlns:a16="http://schemas.microsoft.com/office/drawing/2014/main" id="{662CBE08-5E86-84CC-EA32-B921B52C4A5B}"/>
              </a:ext>
            </a:extLst>
          </p:cNvPr>
          <p:cNvSpPr/>
          <p:nvPr/>
        </p:nvSpPr>
        <p:spPr>
          <a:xfrm>
            <a:off x="960594" y="2344020"/>
            <a:ext cx="586752" cy="185893"/>
          </a:xfrm>
          <a:prstGeom prst="rect">
            <a:avLst/>
          </a:prstGeom>
          <a:solidFill>
            <a:srgbClr val="B681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727913"/>
            <a:endParaRPr lang="en-AU" sz="1433" kern="0">
              <a:solidFill>
                <a:prstClr val="white"/>
              </a:solidFill>
              <a:latin typeface="Calibri"/>
            </a:endParaRPr>
          </a:p>
        </p:txBody>
      </p:sp>
      <p:sp>
        <p:nvSpPr>
          <p:cNvPr id="6" name="Rectangle 5">
            <a:extLst>
              <a:ext uri="{FF2B5EF4-FFF2-40B4-BE49-F238E27FC236}">
                <a16:creationId xmlns:a16="http://schemas.microsoft.com/office/drawing/2014/main" id="{AC09BB4D-C4DC-C8B2-34DB-29CA615F2084}"/>
              </a:ext>
            </a:extLst>
          </p:cNvPr>
          <p:cNvSpPr/>
          <p:nvPr/>
        </p:nvSpPr>
        <p:spPr>
          <a:xfrm>
            <a:off x="960595" y="3365850"/>
            <a:ext cx="586752" cy="185893"/>
          </a:xfrm>
          <a:prstGeom prst="rect">
            <a:avLst/>
          </a:prstGeom>
          <a:solidFill>
            <a:srgbClr val="2E38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727913"/>
            <a:endParaRPr lang="en-AU" sz="1433" kern="0">
              <a:solidFill>
                <a:prstClr val="white"/>
              </a:solidFill>
              <a:latin typeface="Calibri"/>
            </a:endParaRPr>
          </a:p>
        </p:txBody>
      </p:sp>
      <p:sp>
        <p:nvSpPr>
          <p:cNvPr id="7" name="TextBox 6">
            <a:extLst>
              <a:ext uri="{FF2B5EF4-FFF2-40B4-BE49-F238E27FC236}">
                <a16:creationId xmlns:a16="http://schemas.microsoft.com/office/drawing/2014/main" id="{14FD8FA9-4949-6308-93CB-2BAA1C0776AF}"/>
              </a:ext>
            </a:extLst>
          </p:cNvPr>
          <p:cNvSpPr txBox="1"/>
          <p:nvPr/>
        </p:nvSpPr>
        <p:spPr>
          <a:xfrm>
            <a:off x="866511" y="2554088"/>
            <a:ext cx="1120820" cy="239296"/>
          </a:xfrm>
          <a:prstGeom prst="rect">
            <a:avLst/>
          </a:prstGeom>
          <a:noFill/>
        </p:spPr>
        <p:txBody>
          <a:bodyPr wrap="none" rtlCol="0">
            <a:spAutoFit/>
          </a:bodyPr>
          <a:lstStyle/>
          <a:p>
            <a:pPr defTabSz="727913"/>
            <a:r>
              <a:rPr lang="en-AU" sz="955" kern="0" dirty="0">
                <a:solidFill>
                  <a:srgbClr val="2E3842"/>
                </a:solidFill>
                <a:latin typeface="Montserrat" pitchFamily="2" charset="0"/>
              </a:rPr>
              <a:t>Understanding</a:t>
            </a:r>
          </a:p>
        </p:txBody>
      </p:sp>
      <p:sp>
        <p:nvSpPr>
          <p:cNvPr id="8" name="TextBox 7">
            <a:extLst>
              <a:ext uri="{FF2B5EF4-FFF2-40B4-BE49-F238E27FC236}">
                <a16:creationId xmlns:a16="http://schemas.microsoft.com/office/drawing/2014/main" id="{2869E45C-64E2-451C-38DB-812E02307062}"/>
              </a:ext>
            </a:extLst>
          </p:cNvPr>
          <p:cNvSpPr txBox="1"/>
          <p:nvPr/>
        </p:nvSpPr>
        <p:spPr>
          <a:xfrm>
            <a:off x="866511" y="3551742"/>
            <a:ext cx="1007007" cy="239296"/>
          </a:xfrm>
          <a:prstGeom prst="rect">
            <a:avLst/>
          </a:prstGeom>
          <a:noFill/>
        </p:spPr>
        <p:txBody>
          <a:bodyPr wrap="none" rtlCol="0">
            <a:spAutoFit/>
          </a:bodyPr>
          <a:lstStyle/>
          <a:p>
            <a:pPr defTabSz="727913"/>
            <a:r>
              <a:rPr lang="en-AU" sz="955" kern="0" dirty="0">
                <a:solidFill>
                  <a:srgbClr val="2E3842"/>
                </a:solidFill>
                <a:latin typeface="Montserrat" pitchFamily="2" charset="0"/>
              </a:rPr>
              <a:t>Highly skilled</a:t>
            </a:r>
          </a:p>
        </p:txBody>
      </p:sp>
      <p:graphicFrame>
        <p:nvGraphicFramePr>
          <p:cNvPr id="3" name="Table 2">
            <a:extLst>
              <a:ext uri="{FF2B5EF4-FFF2-40B4-BE49-F238E27FC236}">
                <a16:creationId xmlns:a16="http://schemas.microsoft.com/office/drawing/2014/main" id="{B16C17A6-7C49-4530-02AF-B9A9E5F5AE6C}"/>
              </a:ext>
            </a:extLst>
          </p:cNvPr>
          <p:cNvGraphicFramePr>
            <a:graphicFrameLocks noGrp="1"/>
          </p:cNvGraphicFramePr>
          <p:nvPr/>
        </p:nvGraphicFramePr>
        <p:xfrm>
          <a:off x="2421653" y="6173252"/>
          <a:ext cx="7827666" cy="1081657"/>
        </p:xfrm>
        <a:graphic>
          <a:graphicData uri="http://schemas.openxmlformats.org/drawingml/2006/table">
            <a:tbl>
              <a:tblPr firstRow="1" bandRow="1">
                <a:tableStyleId>{5C22544A-7EE6-4342-B048-85BDC9FD1C3A}</a:tableStyleId>
              </a:tblPr>
              <a:tblGrid>
                <a:gridCol w="2990736">
                  <a:extLst>
                    <a:ext uri="{9D8B030D-6E8A-4147-A177-3AD203B41FA5}">
                      <a16:colId xmlns:a16="http://schemas.microsoft.com/office/drawing/2014/main" val="1916733574"/>
                    </a:ext>
                  </a:extLst>
                </a:gridCol>
                <a:gridCol w="906364">
                  <a:extLst>
                    <a:ext uri="{9D8B030D-6E8A-4147-A177-3AD203B41FA5}">
                      <a16:colId xmlns:a16="http://schemas.microsoft.com/office/drawing/2014/main" val="2237722335"/>
                    </a:ext>
                  </a:extLst>
                </a:gridCol>
                <a:gridCol w="1373006">
                  <a:extLst>
                    <a:ext uri="{9D8B030D-6E8A-4147-A177-3AD203B41FA5}">
                      <a16:colId xmlns:a16="http://schemas.microsoft.com/office/drawing/2014/main" val="183358223"/>
                    </a:ext>
                  </a:extLst>
                </a:gridCol>
                <a:gridCol w="1256345">
                  <a:extLst>
                    <a:ext uri="{9D8B030D-6E8A-4147-A177-3AD203B41FA5}">
                      <a16:colId xmlns:a16="http://schemas.microsoft.com/office/drawing/2014/main" val="3989602678"/>
                    </a:ext>
                  </a:extLst>
                </a:gridCol>
                <a:gridCol w="1301215">
                  <a:extLst>
                    <a:ext uri="{9D8B030D-6E8A-4147-A177-3AD203B41FA5}">
                      <a16:colId xmlns:a16="http://schemas.microsoft.com/office/drawing/2014/main" val="3727840127"/>
                    </a:ext>
                  </a:extLst>
                </a:gridCol>
              </a:tblGrid>
              <a:tr h="318841">
                <a:tc>
                  <a:txBody>
                    <a:bodyPr/>
                    <a:lstStyle/>
                    <a:p>
                      <a:r>
                        <a:rPr lang="en-AU" sz="900" b="0" dirty="0">
                          <a:solidFill>
                            <a:srgbClr val="2E3842"/>
                          </a:solidFill>
                          <a:latin typeface="Montserrat" pitchFamily="2" charset="0"/>
                        </a:rPr>
                        <a:t>Business Sale Preparation</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endParaRPr lang="en-AU" sz="9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AU" sz="9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54920912"/>
                  </a:ext>
                </a:extLst>
              </a:tr>
              <a:tr h="318841">
                <a:tc>
                  <a:txBody>
                    <a:bodyPr/>
                    <a:lstStyle/>
                    <a:p>
                      <a:r>
                        <a:rPr lang="en-AU" sz="900" dirty="0">
                          <a:solidFill>
                            <a:srgbClr val="2E3842"/>
                          </a:solidFill>
                          <a:latin typeface="Montserrat" pitchFamily="2" charset="0"/>
                        </a:rPr>
                        <a:t>*Family Rule Book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endParaRPr lang="en-AU" sz="9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AU" sz="9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4481444"/>
                  </a:ext>
                </a:extLst>
              </a:tr>
              <a:tr h="443975">
                <a:tc>
                  <a:txBody>
                    <a:bodyPr/>
                    <a:lstStyle/>
                    <a:p>
                      <a:r>
                        <a:rPr lang="en-AU" sz="900" dirty="0">
                          <a:solidFill>
                            <a:srgbClr val="2E3842"/>
                          </a:solidFill>
                          <a:latin typeface="Montserrat" pitchFamily="2" charset="0"/>
                        </a:rPr>
                        <a:t>*Family Constitution</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p>
                    <a:p>
                      <a:endParaRPr sz="900" dirty="0"/>
                    </a:p>
                  </a:txBody>
                  <a:tcPr marL="80201" marR="80201" marT="40100" marB="40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p>
                  </a:txBody>
                  <a:tcPr marL="80201" marR="80201" marT="40100" marB="401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endParaRPr lang="en-AU" sz="9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AU" sz="9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6863994"/>
                  </a:ext>
                </a:extLst>
              </a:tr>
            </a:tbl>
          </a:graphicData>
        </a:graphic>
      </p:graphicFrame>
      <p:sp>
        <p:nvSpPr>
          <p:cNvPr id="9" name="Slide Number Placeholder 8">
            <a:extLst>
              <a:ext uri="{FF2B5EF4-FFF2-40B4-BE49-F238E27FC236}">
                <a16:creationId xmlns:a16="http://schemas.microsoft.com/office/drawing/2014/main" id="{A13F580C-F233-E134-AEF9-07D05AEDA8AB}"/>
              </a:ext>
            </a:extLst>
          </p:cNvPr>
          <p:cNvSpPr>
            <a:spLocks noGrp="1"/>
          </p:cNvSpPr>
          <p:nvPr>
            <p:ph type="sldNum" sz="quarter" idx="7"/>
          </p:nvPr>
        </p:nvSpPr>
        <p:spPr>
          <a:xfrm>
            <a:off x="8089900" y="7116409"/>
            <a:ext cx="2459482" cy="276999"/>
          </a:xfrm>
        </p:spPr>
        <p:txBody>
          <a:bodyPr/>
          <a:lstStyle/>
          <a:p>
            <a:fld id="{B6F15528-21DE-4FAA-801E-634DDDAF4B2B}" type="slidenum">
              <a:rPr lang="en-AU" smtClean="0"/>
              <a:t>4</a:t>
            </a:fld>
            <a:endParaRPr lang="en-AU" dirty="0"/>
          </a:p>
        </p:txBody>
      </p:sp>
    </p:spTree>
    <p:extLst>
      <p:ext uri="{BB962C8B-B14F-4D97-AF65-F5344CB8AC3E}">
        <p14:creationId xmlns:p14="http://schemas.microsoft.com/office/powerpoint/2010/main" val="11951553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diagram of a family vision&#10;&#10;Description automatically generated">
            <a:extLst>
              <a:ext uri="{FF2B5EF4-FFF2-40B4-BE49-F238E27FC236}">
                <a16:creationId xmlns:a16="http://schemas.microsoft.com/office/drawing/2014/main" id="{9772F972-3E41-1FA6-2544-21845A57C2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7678" y="1155387"/>
            <a:ext cx="8374822" cy="6061571"/>
          </a:xfrm>
          <a:prstGeom prst="rect">
            <a:avLst/>
          </a:prstGeom>
        </p:spPr>
      </p:pic>
      <p:sp>
        <p:nvSpPr>
          <p:cNvPr id="2" name="Slide Number Placeholder 1">
            <a:extLst>
              <a:ext uri="{FF2B5EF4-FFF2-40B4-BE49-F238E27FC236}">
                <a16:creationId xmlns:a16="http://schemas.microsoft.com/office/drawing/2014/main" id="{20786A3D-E04A-5951-B735-6D9921435DB3}"/>
              </a:ext>
            </a:extLst>
          </p:cNvPr>
          <p:cNvSpPr>
            <a:spLocks noGrp="1"/>
          </p:cNvSpPr>
          <p:nvPr>
            <p:ph type="sldNum" sz="quarter" idx="7"/>
          </p:nvPr>
        </p:nvSpPr>
        <p:spPr/>
        <p:txBody>
          <a:bodyPr/>
          <a:lstStyle/>
          <a:p>
            <a:fld id="{B6F15528-21DE-4FAA-801E-634DDDAF4B2B}" type="slidenum">
              <a:rPr lang="en-AU" smtClean="0"/>
              <a:t>40</a:t>
            </a:fld>
            <a:endParaRPr lang="en-AU"/>
          </a:p>
        </p:txBody>
      </p:sp>
    </p:spTree>
    <p:extLst>
      <p:ext uri="{BB962C8B-B14F-4D97-AF65-F5344CB8AC3E}">
        <p14:creationId xmlns:p14="http://schemas.microsoft.com/office/powerpoint/2010/main" val="38064010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BBE40B61-36BA-AD97-8750-6921EA6BED2F}"/>
              </a:ext>
            </a:extLst>
          </p:cNvPr>
          <p:cNvSpPr>
            <a:spLocks noGrp="1"/>
          </p:cNvSpPr>
          <p:nvPr>
            <p:ph type="title"/>
          </p:nvPr>
        </p:nvSpPr>
        <p:spPr>
          <a:xfrm>
            <a:off x="1169456" y="838657"/>
            <a:ext cx="8215844" cy="800219"/>
          </a:xfrm>
        </p:spPr>
        <p:txBody>
          <a:bodyPr/>
          <a:lstStyle/>
          <a:p>
            <a:pPr algn="l"/>
            <a:r>
              <a:rPr lang="en-AU" dirty="0"/>
              <a:t>Handing Over The Baton </a:t>
            </a:r>
            <a:br>
              <a:rPr lang="en-AU" sz="2400" dirty="0"/>
            </a:br>
            <a:endParaRPr lang="en-AU" sz="2400" dirty="0"/>
          </a:p>
        </p:txBody>
      </p:sp>
      <p:pic>
        <p:nvPicPr>
          <p:cNvPr id="5" name="Picture 4" descr="A close-up of hands holding a copper tube&#10;&#10;Description automatically generated">
            <a:extLst>
              <a:ext uri="{FF2B5EF4-FFF2-40B4-BE49-F238E27FC236}">
                <a16:creationId xmlns:a16="http://schemas.microsoft.com/office/drawing/2014/main" id="{B9F1D591-4B8F-8E47-4AAD-5E8F203305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0500" y="1492250"/>
            <a:ext cx="8220430" cy="5791200"/>
          </a:xfrm>
          <a:prstGeom prst="rect">
            <a:avLst/>
          </a:prstGeom>
        </p:spPr>
      </p:pic>
      <p:sp>
        <p:nvSpPr>
          <p:cNvPr id="2" name="Slide Number Placeholder 1">
            <a:extLst>
              <a:ext uri="{FF2B5EF4-FFF2-40B4-BE49-F238E27FC236}">
                <a16:creationId xmlns:a16="http://schemas.microsoft.com/office/drawing/2014/main" id="{0B18C886-99DD-B996-C452-8A8489FAFFF0}"/>
              </a:ext>
            </a:extLst>
          </p:cNvPr>
          <p:cNvSpPr>
            <a:spLocks noGrp="1"/>
          </p:cNvSpPr>
          <p:nvPr>
            <p:ph type="sldNum" sz="quarter" idx="7"/>
          </p:nvPr>
        </p:nvSpPr>
        <p:spPr/>
        <p:txBody>
          <a:bodyPr/>
          <a:lstStyle/>
          <a:p>
            <a:fld id="{B6F15528-21DE-4FAA-801E-634DDDAF4B2B}" type="slidenum">
              <a:rPr lang="en-AU" smtClean="0"/>
              <a:t>41</a:t>
            </a:fld>
            <a:endParaRPr lang="en-AU"/>
          </a:p>
        </p:txBody>
      </p:sp>
    </p:spTree>
    <p:extLst>
      <p:ext uri="{BB962C8B-B14F-4D97-AF65-F5344CB8AC3E}">
        <p14:creationId xmlns:p14="http://schemas.microsoft.com/office/powerpoint/2010/main" val="39696768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05157-0FD1-EF06-9292-E6F752664B71}"/>
              </a:ext>
            </a:extLst>
          </p:cNvPr>
          <p:cNvSpPr>
            <a:spLocks noGrp="1"/>
          </p:cNvSpPr>
          <p:nvPr>
            <p:ph type="title"/>
          </p:nvPr>
        </p:nvSpPr>
        <p:spPr>
          <a:xfrm>
            <a:off x="1155700" y="882650"/>
            <a:ext cx="8749244" cy="861774"/>
          </a:xfrm>
        </p:spPr>
        <p:txBody>
          <a:bodyPr/>
          <a:lstStyle/>
          <a:p>
            <a:r>
              <a:rPr lang="en-AU" dirty="0"/>
              <a:t>Receiving the Baton </a:t>
            </a:r>
            <a:br>
              <a:rPr lang="en-AU" dirty="0"/>
            </a:br>
            <a:r>
              <a:rPr lang="en-AU" dirty="0"/>
              <a:t>Considerations, Challenges &amp; Opportunities</a:t>
            </a:r>
          </a:p>
        </p:txBody>
      </p:sp>
      <p:pic>
        <p:nvPicPr>
          <p:cNvPr id="4" name="Picture 3" descr="Hands holding a baton with text overlay&#10;&#10;Description automatically generated">
            <a:extLst>
              <a:ext uri="{FF2B5EF4-FFF2-40B4-BE49-F238E27FC236}">
                <a16:creationId xmlns:a16="http://schemas.microsoft.com/office/drawing/2014/main" id="{D92F32F0-1D45-87EF-0093-9513B8B7A2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4122" y="1744424"/>
            <a:ext cx="7772400" cy="5499339"/>
          </a:xfrm>
          <a:prstGeom prst="rect">
            <a:avLst/>
          </a:prstGeom>
        </p:spPr>
      </p:pic>
      <p:sp>
        <p:nvSpPr>
          <p:cNvPr id="3" name="Slide Number Placeholder 2">
            <a:extLst>
              <a:ext uri="{FF2B5EF4-FFF2-40B4-BE49-F238E27FC236}">
                <a16:creationId xmlns:a16="http://schemas.microsoft.com/office/drawing/2014/main" id="{642C4261-087A-E089-C0EF-74E8BE4421B8}"/>
              </a:ext>
            </a:extLst>
          </p:cNvPr>
          <p:cNvSpPr>
            <a:spLocks noGrp="1"/>
          </p:cNvSpPr>
          <p:nvPr>
            <p:ph type="sldNum" sz="quarter" idx="7"/>
          </p:nvPr>
        </p:nvSpPr>
        <p:spPr/>
        <p:txBody>
          <a:bodyPr/>
          <a:lstStyle/>
          <a:p>
            <a:fld id="{B6F15528-21DE-4FAA-801E-634DDDAF4B2B}" type="slidenum">
              <a:rPr lang="en-AU" smtClean="0"/>
              <a:t>42</a:t>
            </a:fld>
            <a:endParaRPr lang="en-AU"/>
          </a:p>
        </p:txBody>
      </p:sp>
    </p:spTree>
    <p:extLst>
      <p:ext uri="{BB962C8B-B14F-4D97-AF65-F5344CB8AC3E}">
        <p14:creationId xmlns:p14="http://schemas.microsoft.com/office/powerpoint/2010/main" val="1414802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05157-0FD1-EF06-9292-E6F752664B71}"/>
              </a:ext>
            </a:extLst>
          </p:cNvPr>
          <p:cNvSpPr>
            <a:spLocks noGrp="1"/>
          </p:cNvSpPr>
          <p:nvPr>
            <p:ph type="title"/>
          </p:nvPr>
        </p:nvSpPr>
        <p:spPr>
          <a:xfrm>
            <a:off x="1155700" y="882650"/>
            <a:ext cx="8749244" cy="492443"/>
          </a:xfrm>
        </p:spPr>
        <p:txBody>
          <a:bodyPr/>
          <a:lstStyle/>
          <a:p>
            <a:r>
              <a:rPr lang="en-AU" sz="3200" dirty="0"/>
              <a:t>Typical A-B Conversations</a:t>
            </a:r>
          </a:p>
        </p:txBody>
      </p:sp>
      <p:pic>
        <p:nvPicPr>
          <p:cNvPr id="4" name="Picture 3" descr="A person standing on a desk&#10;&#10;Description automatically generated">
            <a:extLst>
              <a:ext uri="{FF2B5EF4-FFF2-40B4-BE49-F238E27FC236}">
                <a16:creationId xmlns:a16="http://schemas.microsoft.com/office/drawing/2014/main" id="{CD448726-1221-000B-71C0-F81E9DFE25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9100" y="1568450"/>
            <a:ext cx="8375926" cy="5689478"/>
          </a:xfrm>
          <a:prstGeom prst="rect">
            <a:avLst/>
          </a:prstGeom>
        </p:spPr>
      </p:pic>
      <p:sp>
        <p:nvSpPr>
          <p:cNvPr id="3" name="Slide Number Placeholder 2">
            <a:extLst>
              <a:ext uri="{FF2B5EF4-FFF2-40B4-BE49-F238E27FC236}">
                <a16:creationId xmlns:a16="http://schemas.microsoft.com/office/drawing/2014/main" id="{129F9BCC-0B93-7486-B0F8-5E4F8C512E94}"/>
              </a:ext>
            </a:extLst>
          </p:cNvPr>
          <p:cNvSpPr>
            <a:spLocks noGrp="1"/>
          </p:cNvSpPr>
          <p:nvPr>
            <p:ph type="sldNum" sz="quarter" idx="7"/>
          </p:nvPr>
        </p:nvSpPr>
        <p:spPr>
          <a:xfrm>
            <a:off x="7861300" y="7069015"/>
            <a:ext cx="2459482" cy="377825"/>
          </a:xfrm>
        </p:spPr>
        <p:txBody>
          <a:bodyPr/>
          <a:lstStyle/>
          <a:p>
            <a:fld id="{B6F15528-21DE-4FAA-801E-634DDDAF4B2B}" type="slidenum">
              <a:rPr lang="en-AU" smtClean="0"/>
              <a:t>43</a:t>
            </a:fld>
            <a:endParaRPr lang="en-AU" dirty="0"/>
          </a:p>
        </p:txBody>
      </p:sp>
    </p:spTree>
    <p:extLst>
      <p:ext uri="{BB962C8B-B14F-4D97-AF65-F5344CB8AC3E}">
        <p14:creationId xmlns:p14="http://schemas.microsoft.com/office/powerpoint/2010/main" val="26819297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5E718-3CAF-1A3E-7CF7-07A27FBD3F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EA5821-6F46-A267-5FC2-E2C7B7BB37D3}"/>
              </a:ext>
            </a:extLst>
          </p:cNvPr>
          <p:cNvSpPr>
            <a:spLocks noGrp="1"/>
          </p:cNvSpPr>
          <p:nvPr>
            <p:ph type="title"/>
          </p:nvPr>
        </p:nvSpPr>
        <p:spPr>
          <a:xfrm>
            <a:off x="1079500" y="1035051"/>
            <a:ext cx="3581400" cy="1107996"/>
          </a:xfrm>
        </p:spPr>
        <p:txBody>
          <a:bodyPr/>
          <a:lstStyle/>
          <a:p>
            <a:r>
              <a:rPr lang="en-AU" dirty="0"/>
              <a:t>Introducing:</a:t>
            </a:r>
            <a:br>
              <a:rPr lang="en-AU" dirty="0"/>
            </a:br>
            <a:r>
              <a:rPr lang="en-AU" dirty="0"/>
              <a:t>Sarah Metcalf</a:t>
            </a:r>
            <a:br>
              <a:rPr lang="en-AU" dirty="0"/>
            </a:br>
            <a:r>
              <a:rPr lang="en-AU" sz="1600" dirty="0">
                <a:solidFill>
                  <a:srgbClr val="2E3842"/>
                </a:solidFill>
              </a:rPr>
              <a:t>www.collectivemanifesto.com.au</a:t>
            </a:r>
          </a:p>
        </p:txBody>
      </p:sp>
      <p:sp>
        <p:nvSpPr>
          <p:cNvPr id="4" name="Slide Number Placeholder 3">
            <a:extLst>
              <a:ext uri="{FF2B5EF4-FFF2-40B4-BE49-F238E27FC236}">
                <a16:creationId xmlns:a16="http://schemas.microsoft.com/office/drawing/2014/main" id="{C080CE29-635C-0A18-6DB8-0304CA849B6D}"/>
              </a:ext>
            </a:extLst>
          </p:cNvPr>
          <p:cNvSpPr>
            <a:spLocks noGrp="1"/>
          </p:cNvSpPr>
          <p:nvPr>
            <p:ph type="sldNum" sz="quarter" idx="7"/>
          </p:nvPr>
        </p:nvSpPr>
        <p:spPr/>
        <p:txBody>
          <a:bodyPr/>
          <a:lstStyle/>
          <a:p>
            <a:fld id="{B6F15528-21DE-4FAA-801E-634DDDAF4B2B}" type="slidenum">
              <a:rPr lang="en-AU" smtClean="0"/>
              <a:t>44</a:t>
            </a:fld>
            <a:endParaRPr lang="en-AU"/>
          </a:p>
        </p:txBody>
      </p:sp>
      <p:sp>
        <p:nvSpPr>
          <p:cNvPr id="7" name="Text Placeholder 6">
            <a:extLst>
              <a:ext uri="{FF2B5EF4-FFF2-40B4-BE49-F238E27FC236}">
                <a16:creationId xmlns:a16="http://schemas.microsoft.com/office/drawing/2014/main" id="{BE3E1DB5-891B-A463-ED37-539C88D9348C}"/>
              </a:ext>
            </a:extLst>
          </p:cNvPr>
          <p:cNvSpPr>
            <a:spLocks noGrp="1"/>
          </p:cNvSpPr>
          <p:nvPr>
            <p:ph type="body" idx="1"/>
          </p:nvPr>
        </p:nvSpPr>
        <p:spPr>
          <a:xfrm>
            <a:off x="927100" y="2711450"/>
            <a:ext cx="9383141" cy="3877985"/>
          </a:xfrm>
        </p:spPr>
        <p:txBody>
          <a:bodyPr/>
          <a:lstStyle/>
          <a:p>
            <a:r>
              <a:rPr lang="en-US" dirty="0">
                <a:latin typeface="Montserrat" pitchFamily="2" charset="0"/>
              </a:rPr>
              <a:t>Sarah</a:t>
            </a:r>
            <a:r>
              <a:rPr lang="en-US" b="0" i="0" dirty="0">
                <a:effectLst/>
                <a:latin typeface="Montserrat" pitchFamily="2" charset="0"/>
              </a:rPr>
              <a:t> has collaborated with some of Australia's most successful families &amp; </a:t>
            </a:r>
            <a:r>
              <a:rPr lang="en-US" b="0" i="0" dirty="0" err="1">
                <a:effectLst/>
                <a:latin typeface="Montserrat" pitchFamily="2" charset="0"/>
              </a:rPr>
              <a:t>organisations</a:t>
            </a:r>
            <a:r>
              <a:rPr lang="en-US" b="0" i="0" dirty="0">
                <a:effectLst/>
                <a:latin typeface="Montserrat" pitchFamily="2" charset="0"/>
              </a:rPr>
              <a:t> to help them give better, &amp; with more impact.</a:t>
            </a:r>
            <a:br>
              <a:rPr lang="en-US" dirty="0">
                <a:latin typeface="Montserrat" pitchFamily="2" charset="0"/>
              </a:rPr>
            </a:br>
            <a:br>
              <a:rPr lang="en-US" dirty="0">
                <a:latin typeface="Montserrat" pitchFamily="2" charset="0"/>
              </a:rPr>
            </a:br>
            <a:r>
              <a:rPr lang="en-US" b="0" i="0" dirty="0">
                <a:effectLst/>
                <a:latin typeface="Montserrat" pitchFamily="2" charset="0"/>
              </a:rPr>
              <a:t>Philanthropy goes beyond giving back. It's about shaping a legacy; fostering connectivity within families; </a:t>
            </a:r>
            <a:r>
              <a:rPr lang="en-US" b="0" i="0" dirty="0" err="1">
                <a:effectLst/>
                <a:latin typeface="Montserrat" pitchFamily="2" charset="0"/>
              </a:rPr>
              <a:t>organisations</a:t>
            </a:r>
            <a:r>
              <a:rPr lang="en-US" b="0" i="0" dirty="0">
                <a:effectLst/>
                <a:latin typeface="Montserrat" pitchFamily="2" charset="0"/>
              </a:rPr>
              <a:t> &amp; their communities; &amp; creating significant &amp; meaningful impact for generations to come.</a:t>
            </a:r>
            <a:br>
              <a:rPr lang="en-US" dirty="0">
                <a:latin typeface="Montserrat" pitchFamily="2" charset="0"/>
              </a:rPr>
            </a:br>
            <a:br>
              <a:rPr lang="en-US" dirty="0">
                <a:latin typeface="Montserrat" pitchFamily="2" charset="0"/>
              </a:rPr>
            </a:br>
            <a:r>
              <a:rPr lang="en-US" b="0" i="0" dirty="0">
                <a:effectLst/>
                <a:latin typeface="Montserrat" pitchFamily="2" charset="0"/>
              </a:rPr>
              <a:t>With over two decades of experience in the sector gained at a 'Big 4' professional services firm, Australia's largest multi-family office &amp; leading a charity, Sarah brings rare insights &amp; skills that drive optimal and meaningful outcomes.</a:t>
            </a:r>
            <a:br>
              <a:rPr lang="en-US" dirty="0">
                <a:latin typeface="Montserrat" pitchFamily="2" charset="0"/>
              </a:rPr>
            </a:br>
            <a:br>
              <a:rPr lang="en-US" dirty="0">
                <a:latin typeface="Montserrat" pitchFamily="2" charset="0"/>
              </a:rPr>
            </a:br>
            <a:r>
              <a:rPr lang="en-US" dirty="0">
                <a:latin typeface="Montserrat" pitchFamily="2" charset="0"/>
              </a:rPr>
              <a:t>Sarah</a:t>
            </a:r>
            <a:r>
              <a:rPr lang="en-US" b="0" i="0" dirty="0">
                <a:effectLst/>
                <a:latin typeface="Montserrat" pitchFamily="2" charset="0"/>
              </a:rPr>
              <a:t> partners with other professionals, such as wealth managers and accountants, to assist clients in defining the purpose of their wealth and how to use it effectively.</a:t>
            </a:r>
            <a:endParaRPr lang="en-AU" dirty="0"/>
          </a:p>
        </p:txBody>
      </p:sp>
      <p:pic>
        <p:nvPicPr>
          <p:cNvPr id="5" name="Picture 4">
            <a:extLst>
              <a:ext uri="{FF2B5EF4-FFF2-40B4-BE49-F238E27FC236}">
                <a16:creationId xmlns:a16="http://schemas.microsoft.com/office/drawing/2014/main" id="{4CDF43B1-EF47-4A0C-E2C0-29E5F4D7408E}"/>
              </a:ext>
            </a:extLst>
          </p:cNvPr>
          <p:cNvPicPr>
            <a:picLocks noChangeAspect="1"/>
          </p:cNvPicPr>
          <p:nvPr/>
        </p:nvPicPr>
        <p:blipFill>
          <a:blip r:embed="rId2"/>
          <a:stretch>
            <a:fillRect/>
          </a:stretch>
        </p:blipFill>
        <p:spPr>
          <a:xfrm>
            <a:off x="7632699" y="830567"/>
            <a:ext cx="1296289" cy="1508627"/>
          </a:xfrm>
          <a:prstGeom prst="rect">
            <a:avLst/>
          </a:prstGeom>
        </p:spPr>
      </p:pic>
    </p:spTree>
    <p:extLst>
      <p:ext uri="{BB962C8B-B14F-4D97-AF65-F5344CB8AC3E}">
        <p14:creationId xmlns:p14="http://schemas.microsoft.com/office/powerpoint/2010/main" val="19300121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E0356E3-A5B3-481E-DD18-3E42537AF1AD}"/>
              </a:ext>
            </a:extLst>
          </p:cNvPr>
          <p:cNvSpPr>
            <a:spLocks noGrp="1"/>
          </p:cNvSpPr>
          <p:nvPr>
            <p:ph type="sldNum" sz="quarter" idx="7"/>
          </p:nvPr>
        </p:nvSpPr>
        <p:spPr/>
        <p:txBody>
          <a:bodyPr/>
          <a:lstStyle/>
          <a:p>
            <a:fld id="{B6F15528-21DE-4FAA-801E-634DDDAF4B2B}" type="slidenum">
              <a:rPr lang="en-AU" smtClean="0"/>
              <a:t>45</a:t>
            </a:fld>
            <a:endParaRPr lang="en-AU"/>
          </a:p>
        </p:txBody>
      </p:sp>
      <p:pic>
        <p:nvPicPr>
          <p:cNvPr id="6" name="Picture 5">
            <a:extLst>
              <a:ext uri="{FF2B5EF4-FFF2-40B4-BE49-F238E27FC236}">
                <a16:creationId xmlns:a16="http://schemas.microsoft.com/office/drawing/2014/main" id="{75F989E8-1B7C-CD6D-AD2E-B35007B67FCE}"/>
              </a:ext>
            </a:extLst>
          </p:cNvPr>
          <p:cNvPicPr>
            <a:picLocks noChangeAspect="1"/>
          </p:cNvPicPr>
          <p:nvPr/>
        </p:nvPicPr>
        <p:blipFill>
          <a:blip r:embed="rId2"/>
          <a:srcRect b="43796"/>
          <a:stretch/>
        </p:blipFill>
        <p:spPr>
          <a:xfrm>
            <a:off x="1557414" y="1239552"/>
            <a:ext cx="7578572" cy="5943600"/>
          </a:xfrm>
          <a:prstGeom prst="rect">
            <a:avLst/>
          </a:prstGeom>
        </p:spPr>
      </p:pic>
    </p:spTree>
    <p:extLst>
      <p:ext uri="{BB962C8B-B14F-4D97-AF65-F5344CB8AC3E}">
        <p14:creationId xmlns:p14="http://schemas.microsoft.com/office/powerpoint/2010/main" val="39455771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AC15E8-D2BD-6D92-5D0F-D07618D170A0}"/>
              </a:ext>
            </a:extLst>
          </p:cNvPr>
          <p:cNvSpPr>
            <a:spLocks noGrp="1"/>
          </p:cNvSpPr>
          <p:nvPr>
            <p:ph type="sldNum" sz="quarter" idx="7"/>
          </p:nvPr>
        </p:nvSpPr>
        <p:spPr/>
        <p:txBody>
          <a:bodyPr/>
          <a:lstStyle/>
          <a:p>
            <a:fld id="{B6F15528-21DE-4FAA-801E-634DDDAF4B2B}" type="slidenum">
              <a:rPr lang="en-AU" smtClean="0"/>
              <a:t>46</a:t>
            </a:fld>
            <a:endParaRPr lang="en-AU"/>
          </a:p>
        </p:txBody>
      </p:sp>
      <p:pic>
        <p:nvPicPr>
          <p:cNvPr id="6" name="Picture 5">
            <a:extLst>
              <a:ext uri="{FF2B5EF4-FFF2-40B4-BE49-F238E27FC236}">
                <a16:creationId xmlns:a16="http://schemas.microsoft.com/office/drawing/2014/main" id="{DBBC4808-23D0-C6D2-A9CA-2A8C6DF1AB17}"/>
              </a:ext>
            </a:extLst>
          </p:cNvPr>
          <p:cNvPicPr>
            <a:picLocks noChangeAspect="1"/>
          </p:cNvPicPr>
          <p:nvPr/>
        </p:nvPicPr>
        <p:blipFill>
          <a:blip r:embed="rId2"/>
          <a:srcRect r="7868"/>
          <a:stretch/>
        </p:blipFill>
        <p:spPr>
          <a:xfrm>
            <a:off x="1003301" y="1568450"/>
            <a:ext cx="9372600" cy="4572000"/>
          </a:xfrm>
          <a:prstGeom prst="rect">
            <a:avLst/>
          </a:prstGeom>
        </p:spPr>
      </p:pic>
    </p:spTree>
    <p:extLst>
      <p:ext uri="{BB962C8B-B14F-4D97-AF65-F5344CB8AC3E}">
        <p14:creationId xmlns:p14="http://schemas.microsoft.com/office/powerpoint/2010/main" val="21628412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596673-F49B-3DEA-8025-B1E1226D12C5}"/>
              </a:ext>
            </a:extLst>
          </p:cNvPr>
          <p:cNvSpPr>
            <a:spLocks noGrp="1"/>
          </p:cNvSpPr>
          <p:nvPr>
            <p:ph type="sldNum" sz="quarter" idx="7"/>
          </p:nvPr>
        </p:nvSpPr>
        <p:spPr/>
        <p:txBody>
          <a:bodyPr/>
          <a:lstStyle/>
          <a:p>
            <a:fld id="{B6F15528-21DE-4FAA-801E-634DDDAF4B2B}" type="slidenum">
              <a:rPr lang="en-AU" smtClean="0"/>
              <a:t>47</a:t>
            </a:fld>
            <a:endParaRPr lang="en-AU"/>
          </a:p>
        </p:txBody>
      </p:sp>
      <p:sp>
        <p:nvSpPr>
          <p:cNvPr id="5" name="TextBox 4">
            <a:extLst>
              <a:ext uri="{FF2B5EF4-FFF2-40B4-BE49-F238E27FC236}">
                <a16:creationId xmlns:a16="http://schemas.microsoft.com/office/drawing/2014/main" id="{EEFE18E4-90FC-2B9B-F635-72E75B9AA9DA}"/>
              </a:ext>
            </a:extLst>
          </p:cNvPr>
          <p:cNvSpPr txBox="1"/>
          <p:nvPr/>
        </p:nvSpPr>
        <p:spPr>
          <a:xfrm>
            <a:off x="1003300" y="958850"/>
            <a:ext cx="4724400" cy="523220"/>
          </a:xfrm>
          <a:prstGeom prst="rect">
            <a:avLst/>
          </a:prstGeom>
          <a:noFill/>
        </p:spPr>
        <p:txBody>
          <a:bodyPr wrap="square" rtlCol="0">
            <a:spAutoFit/>
          </a:bodyPr>
          <a:lstStyle/>
          <a:p>
            <a:r>
              <a:rPr lang="en-AU" sz="2800" dirty="0">
                <a:latin typeface="Montserrat Medium" pitchFamily="2" charset="0"/>
              </a:rPr>
              <a:t>Talent, Time &amp; Treasure</a:t>
            </a:r>
          </a:p>
        </p:txBody>
      </p:sp>
      <p:pic>
        <p:nvPicPr>
          <p:cNvPr id="7" name="Picture 6">
            <a:extLst>
              <a:ext uri="{FF2B5EF4-FFF2-40B4-BE49-F238E27FC236}">
                <a16:creationId xmlns:a16="http://schemas.microsoft.com/office/drawing/2014/main" id="{0FF00590-4B08-0336-1401-9447DB4908D6}"/>
              </a:ext>
            </a:extLst>
          </p:cNvPr>
          <p:cNvPicPr>
            <a:picLocks noChangeAspect="1"/>
          </p:cNvPicPr>
          <p:nvPr/>
        </p:nvPicPr>
        <p:blipFill>
          <a:blip r:embed="rId2"/>
          <a:stretch>
            <a:fillRect/>
          </a:stretch>
        </p:blipFill>
        <p:spPr>
          <a:xfrm>
            <a:off x="1308100" y="1562751"/>
            <a:ext cx="8327091" cy="5960444"/>
          </a:xfrm>
          <a:prstGeom prst="rect">
            <a:avLst/>
          </a:prstGeom>
        </p:spPr>
      </p:pic>
    </p:spTree>
    <p:extLst>
      <p:ext uri="{BB962C8B-B14F-4D97-AF65-F5344CB8AC3E}">
        <p14:creationId xmlns:p14="http://schemas.microsoft.com/office/powerpoint/2010/main" val="256739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39AA18-7324-8FBF-D677-1BEA9AF957D0}"/>
              </a:ext>
            </a:extLst>
          </p:cNvPr>
          <p:cNvSpPr>
            <a:spLocks noGrp="1"/>
          </p:cNvSpPr>
          <p:nvPr>
            <p:ph type="sldNum" sz="quarter" idx="7"/>
          </p:nvPr>
        </p:nvSpPr>
        <p:spPr/>
        <p:txBody>
          <a:bodyPr/>
          <a:lstStyle/>
          <a:p>
            <a:fld id="{B6F15528-21DE-4FAA-801E-634DDDAF4B2B}" type="slidenum">
              <a:rPr lang="en-AU" smtClean="0"/>
              <a:t>48</a:t>
            </a:fld>
            <a:endParaRPr lang="en-AU"/>
          </a:p>
        </p:txBody>
      </p:sp>
      <p:pic>
        <p:nvPicPr>
          <p:cNvPr id="6" name="Picture 5">
            <a:extLst>
              <a:ext uri="{FF2B5EF4-FFF2-40B4-BE49-F238E27FC236}">
                <a16:creationId xmlns:a16="http://schemas.microsoft.com/office/drawing/2014/main" id="{771645D6-28DB-F4EF-45F4-20FFA78E5374}"/>
              </a:ext>
            </a:extLst>
          </p:cNvPr>
          <p:cNvPicPr>
            <a:picLocks noChangeAspect="1"/>
          </p:cNvPicPr>
          <p:nvPr/>
        </p:nvPicPr>
        <p:blipFill>
          <a:blip r:embed="rId2"/>
          <a:stretch>
            <a:fillRect/>
          </a:stretch>
        </p:blipFill>
        <p:spPr>
          <a:xfrm>
            <a:off x="1120482" y="1492250"/>
            <a:ext cx="9156806" cy="4953000"/>
          </a:xfrm>
          <a:prstGeom prst="rect">
            <a:avLst/>
          </a:prstGeom>
        </p:spPr>
      </p:pic>
    </p:spTree>
    <p:extLst>
      <p:ext uri="{BB962C8B-B14F-4D97-AF65-F5344CB8AC3E}">
        <p14:creationId xmlns:p14="http://schemas.microsoft.com/office/powerpoint/2010/main" val="6498125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33575" y="806450"/>
            <a:ext cx="9137618" cy="874482"/>
          </a:xfrm>
          <a:prstGeom prst="rect">
            <a:avLst/>
          </a:prstGeom>
        </p:spPr>
        <p:txBody>
          <a:bodyPr vert="horz" wrap="square" lIns="0" tIns="12585" rIns="0" bIns="0" rtlCol="0">
            <a:spAutoFit/>
          </a:bodyPr>
          <a:lstStyle/>
          <a:p>
            <a:pPr marL="12588" rtl="0">
              <a:spcBef>
                <a:spcPts val="99"/>
              </a:spcBef>
            </a:pPr>
            <a:r>
              <a:rPr lang="en-AU" spc="-10" dirty="0"/>
              <a:t>SAN Adviser -  </a:t>
            </a:r>
            <a:br>
              <a:rPr lang="en-AU" spc="-10" dirty="0"/>
            </a:br>
            <a:r>
              <a:rPr lang="en-AU" spc="-10" dirty="0"/>
              <a:t>Insurance risk &amp; fairness</a:t>
            </a:r>
            <a:endParaRPr spc="-10" dirty="0"/>
          </a:p>
        </p:txBody>
      </p:sp>
      <p:pic>
        <p:nvPicPr>
          <p:cNvPr id="4" name="Picture 3">
            <a:extLst>
              <a:ext uri="{FF2B5EF4-FFF2-40B4-BE49-F238E27FC236}">
                <a16:creationId xmlns:a16="http://schemas.microsoft.com/office/drawing/2014/main" id="{1B4B2595-97C2-78C1-8335-1F752A201AAF}"/>
              </a:ext>
            </a:extLst>
          </p:cNvPr>
          <p:cNvPicPr>
            <a:picLocks noChangeAspect="1"/>
          </p:cNvPicPr>
          <p:nvPr/>
        </p:nvPicPr>
        <p:blipFill>
          <a:blip r:embed="rId3"/>
          <a:srcRect t="3385"/>
          <a:stretch/>
        </p:blipFill>
        <p:spPr>
          <a:xfrm>
            <a:off x="1033575" y="1680932"/>
            <a:ext cx="9616486" cy="5875568"/>
          </a:xfrm>
          <a:prstGeom prst="rect">
            <a:avLst/>
          </a:prstGeom>
        </p:spPr>
      </p:pic>
      <p:sp>
        <p:nvSpPr>
          <p:cNvPr id="3" name="Slide Number Placeholder 3">
            <a:extLst>
              <a:ext uri="{FF2B5EF4-FFF2-40B4-BE49-F238E27FC236}">
                <a16:creationId xmlns:a16="http://schemas.microsoft.com/office/drawing/2014/main" id="{0576E584-70CC-108D-7320-89D4223AB103}"/>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49</a:t>
            </a:fld>
            <a:endParaRPr lang="en-AU" dirty="0"/>
          </a:p>
        </p:txBody>
      </p:sp>
    </p:spTree>
    <p:extLst>
      <p:ext uri="{BB962C8B-B14F-4D97-AF65-F5344CB8AC3E}">
        <p14:creationId xmlns:p14="http://schemas.microsoft.com/office/powerpoint/2010/main" val="986692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567DD-D7C2-92FC-258F-210E32A2D453}"/>
            </a:ext>
          </a:extLst>
        </p:cNvPr>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C57369E-C636-9A30-2375-F58F2E929757}"/>
              </a:ext>
            </a:extLst>
          </p:cNvPr>
          <p:cNvGraphicFramePr>
            <a:graphicFrameLocks noGrp="1"/>
          </p:cNvGraphicFramePr>
          <p:nvPr/>
        </p:nvGraphicFramePr>
        <p:xfrm>
          <a:off x="2160397" y="931754"/>
          <a:ext cx="8008534" cy="5579368"/>
        </p:xfrm>
        <a:graphic>
          <a:graphicData uri="http://schemas.openxmlformats.org/drawingml/2006/table">
            <a:tbl>
              <a:tblPr firstRow="1" bandRow="1">
                <a:tableStyleId>{5C22544A-7EE6-4342-B048-85BDC9FD1C3A}</a:tableStyleId>
              </a:tblPr>
              <a:tblGrid>
                <a:gridCol w="3089950">
                  <a:extLst>
                    <a:ext uri="{9D8B030D-6E8A-4147-A177-3AD203B41FA5}">
                      <a16:colId xmlns:a16="http://schemas.microsoft.com/office/drawing/2014/main" val="4019851172"/>
                    </a:ext>
                  </a:extLst>
                </a:gridCol>
                <a:gridCol w="914385">
                  <a:extLst>
                    <a:ext uri="{9D8B030D-6E8A-4147-A177-3AD203B41FA5}">
                      <a16:colId xmlns:a16="http://schemas.microsoft.com/office/drawing/2014/main" val="727019017"/>
                    </a:ext>
                  </a:extLst>
                </a:gridCol>
                <a:gridCol w="1334733">
                  <a:extLst>
                    <a:ext uri="{9D8B030D-6E8A-4147-A177-3AD203B41FA5}">
                      <a16:colId xmlns:a16="http://schemas.microsoft.com/office/drawing/2014/main" val="230825123"/>
                    </a:ext>
                  </a:extLst>
                </a:gridCol>
                <a:gridCol w="1334733">
                  <a:extLst>
                    <a:ext uri="{9D8B030D-6E8A-4147-A177-3AD203B41FA5}">
                      <a16:colId xmlns:a16="http://schemas.microsoft.com/office/drawing/2014/main" val="3628954952"/>
                    </a:ext>
                  </a:extLst>
                </a:gridCol>
                <a:gridCol w="1334733">
                  <a:extLst>
                    <a:ext uri="{9D8B030D-6E8A-4147-A177-3AD203B41FA5}">
                      <a16:colId xmlns:a16="http://schemas.microsoft.com/office/drawing/2014/main" val="3440977267"/>
                    </a:ext>
                  </a:extLst>
                </a:gridCol>
              </a:tblGrid>
              <a:tr h="372748">
                <a:tc>
                  <a:txBody>
                    <a:bodyPr/>
                    <a:lstStyle/>
                    <a:p>
                      <a:pPr algn="ctr"/>
                      <a:r>
                        <a:rPr lang="en-AU" sz="900" dirty="0">
                          <a:solidFill>
                            <a:srgbClr val="2E3842"/>
                          </a:solidFill>
                          <a:latin typeface="Montserrat" pitchFamily="2" charset="0"/>
                        </a:rPr>
                        <a:t>Knowledge/Skill Set</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AU" sz="900" dirty="0">
                          <a:solidFill>
                            <a:srgbClr val="2E3842"/>
                          </a:solidFill>
                          <a:latin typeface="Montserrat" pitchFamily="2" charset="0"/>
                        </a:rPr>
                        <a:t>Generalist Adviser</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AU" sz="900" dirty="0">
                          <a:solidFill>
                            <a:srgbClr val="2E3842"/>
                          </a:solidFill>
                          <a:latin typeface="Montserrat" pitchFamily="2" charset="0"/>
                        </a:rPr>
                        <a:t> Significant Adviser</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AU" sz="900" dirty="0">
                          <a:solidFill>
                            <a:srgbClr val="2E3842"/>
                          </a:solidFill>
                          <a:latin typeface="Montserrat" pitchFamily="2" charset="0"/>
                        </a:rPr>
                        <a:t>Competent</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AU" sz="900" dirty="0">
                          <a:solidFill>
                            <a:srgbClr val="2E3842"/>
                          </a:solidFill>
                          <a:latin typeface="Montserrat" pitchFamily="2" charset="0"/>
                        </a:rPr>
                        <a:t>Needs work</a:t>
                      </a:r>
                    </a:p>
                  </a:txBody>
                  <a:tcPr marL="72787" marR="72787" marT="36394" marB="3639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6721107"/>
                  </a:ext>
                </a:extLst>
              </a:tr>
              <a:tr h="347108">
                <a:tc>
                  <a:txBody>
                    <a:bodyPr/>
                    <a:lstStyle/>
                    <a:p>
                      <a:r>
                        <a:rPr lang="en-AU" sz="900" dirty="0">
                          <a:solidFill>
                            <a:srgbClr val="2E3842"/>
                          </a:solidFill>
                          <a:latin typeface="Montserrat" pitchFamily="2" charset="0"/>
                        </a:rPr>
                        <a:t>Capital Mindset</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4084923"/>
                  </a:ext>
                </a:extLst>
              </a:tr>
              <a:tr h="347108">
                <a:tc>
                  <a:txBody>
                    <a:bodyPr/>
                    <a:lstStyle/>
                    <a:p>
                      <a:r>
                        <a:rPr lang="en-AU" sz="900" dirty="0">
                          <a:solidFill>
                            <a:srgbClr val="2E3842"/>
                          </a:solidFill>
                          <a:latin typeface="Montserrat" pitchFamily="2" charset="0"/>
                        </a:rPr>
                        <a:t>EQ – ADVANCED</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431830"/>
                  </a:ext>
                </a:extLst>
              </a:tr>
              <a:tr h="34710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AU" sz="900" dirty="0">
                          <a:solidFill>
                            <a:srgbClr val="2E3842"/>
                          </a:solidFill>
                          <a:latin typeface="Montserrat" pitchFamily="2" charset="0"/>
                        </a:rPr>
                        <a:t>*</a:t>
                      </a:r>
                      <a:r>
                        <a:rPr lang="en-AU" sz="900" b="0" dirty="0">
                          <a:solidFill>
                            <a:srgbClr val="2E3842"/>
                          </a:solidFill>
                          <a:latin typeface="Montserrat" pitchFamily="2" charset="0"/>
                        </a:rPr>
                        <a:t>Identify and understand different roles</a:t>
                      </a:r>
                    </a:p>
                    <a:p>
                      <a:endParaRPr lang="en-AU" sz="900" dirty="0">
                        <a:solidFill>
                          <a:srgbClr val="2E3842"/>
                        </a:solidFill>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81550650"/>
                  </a:ext>
                </a:extLst>
              </a:tr>
              <a:tr h="347108">
                <a:tc>
                  <a:txBody>
                    <a:bodyPr/>
                    <a:lstStyle/>
                    <a:p>
                      <a:r>
                        <a:rPr lang="en-AU" sz="900" dirty="0">
                          <a:solidFill>
                            <a:srgbClr val="2E3842"/>
                          </a:solidFill>
                          <a:latin typeface="Montserrat" pitchFamily="2" charset="0"/>
                        </a:rPr>
                        <a:t>Tax - ADVANCED</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65037022"/>
                  </a:ext>
                </a:extLst>
              </a:tr>
              <a:tr h="347108">
                <a:tc>
                  <a:txBody>
                    <a:bodyPr/>
                    <a:lstStyle/>
                    <a:p>
                      <a:r>
                        <a:rPr lang="en-AU" sz="900" dirty="0">
                          <a:solidFill>
                            <a:srgbClr val="2E3842"/>
                          </a:solidFill>
                          <a:latin typeface="Montserrat" pitchFamily="2" charset="0"/>
                        </a:rPr>
                        <a:t>Estate Planning - ADVANCED</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84351"/>
                  </a:ext>
                </a:extLst>
              </a:tr>
              <a:tr h="347108">
                <a:tc>
                  <a:txBody>
                    <a:bodyPr/>
                    <a:lstStyle/>
                    <a:p>
                      <a:r>
                        <a:rPr lang="en-AU" sz="900" dirty="0">
                          <a:solidFill>
                            <a:srgbClr val="2E3842"/>
                          </a:solidFill>
                          <a:latin typeface="Montserrat" pitchFamily="2" charset="0"/>
                        </a:rPr>
                        <a:t>Succession</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3541261"/>
                  </a:ext>
                </a:extLst>
              </a:tr>
              <a:tr h="347108">
                <a:tc>
                  <a:txBody>
                    <a:bodyPr/>
                    <a:lstStyle/>
                    <a:p>
                      <a:r>
                        <a:rPr lang="en-AU" sz="900" dirty="0">
                          <a:solidFill>
                            <a:srgbClr val="2E3842"/>
                          </a:solidFill>
                          <a:latin typeface="Montserrat" pitchFamily="2" charset="0"/>
                        </a:rPr>
                        <a:t>Governance</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a:ln>
                            <a:noFill/>
                          </a:ln>
                          <a:solidFill>
                            <a:prstClr val="black"/>
                          </a:solidFill>
                          <a:effectLst/>
                          <a:uLnTx/>
                          <a:uFillTx/>
                          <a:latin typeface="Wingdings" panose="05000000000000000000" pitchFamily="2" charset="2"/>
                          <a:ea typeface="+mn-ea"/>
                          <a:cs typeface="+mn-cs"/>
                        </a:rPr>
                        <a:t>ü</a:t>
                      </a:r>
                      <a:endParaRPr lang="en-AU" sz="90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8651370"/>
                  </a:ext>
                </a:extLst>
              </a:tr>
              <a:tr h="347108">
                <a:tc>
                  <a:txBody>
                    <a:bodyPr/>
                    <a:lstStyle/>
                    <a:p>
                      <a:r>
                        <a:rPr lang="en-AU" sz="900" dirty="0">
                          <a:solidFill>
                            <a:srgbClr val="2E3842"/>
                          </a:solidFill>
                          <a:latin typeface="Montserrat" pitchFamily="2" charset="0"/>
                        </a:rPr>
                        <a:t>Leadership Skill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299573"/>
                  </a:ext>
                </a:extLst>
              </a:tr>
              <a:tr h="347108">
                <a:tc>
                  <a:txBody>
                    <a:bodyPr/>
                    <a:lstStyle/>
                    <a:p>
                      <a:r>
                        <a:rPr lang="en-AU" sz="900" dirty="0">
                          <a:solidFill>
                            <a:srgbClr val="2E3842"/>
                          </a:solidFill>
                          <a:latin typeface="Montserrat" pitchFamily="2" charset="0"/>
                        </a:rPr>
                        <a:t>Family Structure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23724876"/>
                  </a:ext>
                </a:extLst>
              </a:tr>
              <a:tr h="347108">
                <a:tc>
                  <a:txBody>
                    <a:bodyPr/>
                    <a:lstStyle/>
                    <a:p>
                      <a:r>
                        <a:rPr lang="en-AU" sz="900" dirty="0">
                          <a:solidFill>
                            <a:srgbClr val="2E3842"/>
                          </a:solidFill>
                          <a:latin typeface="Montserrat" pitchFamily="2" charset="0"/>
                        </a:rPr>
                        <a:t>Family Boards &amp; Meeting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7215593"/>
                  </a:ext>
                </a:extLst>
              </a:tr>
              <a:tr h="347108">
                <a:tc>
                  <a:txBody>
                    <a:bodyPr/>
                    <a:lstStyle/>
                    <a:p>
                      <a:r>
                        <a:rPr lang="en-AU" sz="900" dirty="0">
                          <a:solidFill>
                            <a:srgbClr val="2E3842"/>
                          </a:solidFill>
                          <a:latin typeface="Montserrat" pitchFamily="2" charset="0"/>
                        </a:rPr>
                        <a:t>Family dynamic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a:ln>
                            <a:noFill/>
                          </a:ln>
                          <a:solidFill>
                            <a:prstClr val="black"/>
                          </a:solidFill>
                          <a:effectLst/>
                          <a:uLnTx/>
                          <a:uFillTx/>
                          <a:latin typeface="Wingdings" panose="05000000000000000000" pitchFamily="2" charset="2"/>
                          <a:ea typeface="+mn-ea"/>
                          <a:cs typeface="+mn-cs"/>
                        </a:rPr>
                        <a:t>ü</a:t>
                      </a:r>
                      <a:endParaRPr lang="en-AU" sz="90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464595"/>
                  </a:ext>
                </a:extLst>
              </a:tr>
              <a:tr h="347108">
                <a:tc>
                  <a:txBody>
                    <a:bodyPr/>
                    <a:lstStyle/>
                    <a:p>
                      <a:r>
                        <a:rPr lang="en-AU" sz="900" dirty="0">
                          <a:solidFill>
                            <a:srgbClr val="2E3842"/>
                          </a:solidFill>
                          <a:latin typeface="Montserrat" pitchFamily="2" charset="0"/>
                        </a:rPr>
                        <a:t>Business Driver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5047734"/>
                  </a:ext>
                </a:extLst>
              </a:tr>
              <a:tr h="347108">
                <a:tc>
                  <a:txBody>
                    <a:bodyPr/>
                    <a:lstStyle/>
                    <a:p>
                      <a:r>
                        <a:rPr lang="en-AU" sz="900" dirty="0">
                          <a:solidFill>
                            <a:srgbClr val="2E3842"/>
                          </a:solidFill>
                          <a:latin typeface="Montserrat" pitchFamily="2" charset="0"/>
                        </a:rPr>
                        <a:t>Conflict Mediation</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4297797"/>
                  </a:ext>
                </a:extLst>
              </a:tr>
              <a:tr h="347108">
                <a:tc>
                  <a:txBody>
                    <a:bodyPr/>
                    <a:lstStyle/>
                    <a:p>
                      <a:r>
                        <a:rPr lang="en-AU" sz="900" dirty="0">
                          <a:solidFill>
                            <a:srgbClr val="2E3842"/>
                          </a:solidFill>
                          <a:latin typeface="Montserrat" pitchFamily="2" charset="0"/>
                        </a:rPr>
                        <a:t>Long Term Incentive plan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5084765"/>
                  </a:ext>
                </a:extLst>
              </a:tr>
              <a:tr h="347108">
                <a:tc>
                  <a:txBody>
                    <a:bodyPr/>
                    <a:lstStyle/>
                    <a:p>
                      <a:r>
                        <a:rPr lang="en-AU" sz="900" dirty="0">
                          <a:solidFill>
                            <a:srgbClr val="2E3842"/>
                          </a:solidFill>
                          <a:latin typeface="Montserrat" pitchFamily="2" charset="0"/>
                        </a:rPr>
                        <a:t>Short Term Incentive plan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3842"/>
                    </a:solid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5792385"/>
                  </a:ext>
                </a:extLst>
              </a:tr>
            </a:tbl>
          </a:graphicData>
        </a:graphic>
      </p:graphicFrame>
      <p:sp>
        <p:nvSpPr>
          <p:cNvPr id="3" name="Rectangle 2">
            <a:extLst>
              <a:ext uri="{FF2B5EF4-FFF2-40B4-BE49-F238E27FC236}">
                <a16:creationId xmlns:a16="http://schemas.microsoft.com/office/drawing/2014/main" id="{D842311F-F28E-67BB-8B8B-461E6EF8A232}"/>
              </a:ext>
            </a:extLst>
          </p:cNvPr>
          <p:cNvSpPr/>
          <p:nvPr/>
        </p:nvSpPr>
        <p:spPr>
          <a:xfrm>
            <a:off x="994930" y="2377437"/>
            <a:ext cx="586752" cy="185893"/>
          </a:xfrm>
          <a:prstGeom prst="rect">
            <a:avLst/>
          </a:prstGeom>
          <a:solidFill>
            <a:srgbClr val="B681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727913"/>
            <a:endParaRPr lang="en-AU" sz="1433" kern="0">
              <a:solidFill>
                <a:prstClr val="white"/>
              </a:solidFill>
              <a:latin typeface="Calibri"/>
            </a:endParaRPr>
          </a:p>
        </p:txBody>
      </p:sp>
      <p:sp>
        <p:nvSpPr>
          <p:cNvPr id="5" name="Rectangle 4">
            <a:extLst>
              <a:ext uri="{FF2B5EF4-FFF2-40B4-BE49-F238E27FC236}">
                <a16:creationId xmlns:a16="http://schemas.microsoft.com/office/drawing/2014/main" id="{631CFE2B-7CDF-82E8-99A9-4B31F1375544}"/>
              </a:ext>
            </a:extLst>
          </p:cNvPr>
          <p:cNvSpPr/>
          <p:nvPr/>
        </p:nvSpPr>
        <p:spPr>
          <a:xfrm>
            <a:off x="994930" y="3346527"/>
            <a:ext cx="586752" cy="185893"/>
          </a:xfrm>
          <a:prstGeom prst="rect">
            <a:avLst/>
          </a:prstGeom>
          <a:solidFill>
            <a:srgbClr val="2E38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727913"/>
            <a:endParaRPr lang="en-AU" sz="1433" kern="0">
              <a:solidFill>
                <a:prstClr val="white"/>
              </a:solidFill>
              <a:latin typeface="Calibri"/>
            </a:endParaRPr>
          </a:p>
        </p:txBody>
      </p:sp>
      <p:sp>
        <p:nvSpPr>
          <p:cNvPr id="6" name="TextBox 5">
            <a:extLst>
              <a:ext uri="{FF2B5EF4-FFF2-40B4-BE49-F238E27FC236}">
                <a16:creationId xmlns:a16="http://schemas.microsoft.com/office/drawing/2014/main" id="{67EFAF3D-5766-F0EF-A0B1-C3175C4ABEB7}"/>
              </a:ext>
            </a:extLst>
          </p:cNvPr>
          <p:cNvSpPr txBox="1"/>
          <p:nvPr/>
        </p:nvSpPr>
        <p:spPr>
          <a:xfrm>
            <a:off x="904990" y="2627471"/>
            <a:ext cx="1120820" cy="239296"/>
          </a:xfrm>
          <a:prstGeom prst="rect">
            <a:avLst/>
          </a:prstGeom>
          <a:noFill/>
        </p:spPr>
        <p:txBody>
          <a:bodyPr wrap="none" rtlCol="0">
            <a:spAutoFit/>
          </a:bodyPr>
          <a:lstStyle/>
          <a:p>
            <a:pPr defTabSz="727913"/>
            <a:r>
              <a:rPr lang="en-AU" sz="955" kern="0" dirty="0">
                <a:solidFill>
                  <a:srgbClr val="2E3842"/>
                </a:solidFill>
                <a:latin typeface="Montserrat" pitchFamily="2" charset="0"/>
              </a:rPr>
              <a:t>Understanding</a:t>
            </a:r>
          </a:p>
        </p:txBody>
      </p:sp>
      <p:sp>
        <p:nvSpPr>
          <p:cNvPr id="7" name="TextBox 6">
            <a:extLst>
              <a:ext uri="{FF2B5EF4-FFF2-40B4-BE49-F238E27FC236}">
                <a16:creationId xmlns:a16="http://schemas.microsoft.com/office/drawing/2014/main" id="{BF9719E5-74D3-CF27-97CD-9B0A55F592EC}"/>
              </a:ext>
            </a:extLst>
          </p:cNvPr>
          <p:cNvSpPr txBox="1"/>
          <p:nvPr/>
        </p:nvSpPr>
        <p:spPr>
          <a:xfrm>
            <a:off x="904991" y="3601790"/>
            <a:ext cx="1023037" cy="239296"/>
          </a:xfrm>
          <a:prstGeom prst="rect">
            <a:avLst/>
          </a:prstGeom>
          <a:noFill/>
        </p:spPr>
        <p:txBody>
          <a:bodyPr wrap="none" rtlCol="0">
            <a:spAutoFit/>
          </a:bodyPr>
          <a:lstStyle/>
          <a:p>
            <a:pPr defTabSz="727913"/>
            <a:r>
              <a:rPr lang="en-AU" sz="955" kern="0" dirty="0">
                <a:solidFill>
                  <a:srgbClr val="2E3842"/>
                </a:solidFill>
                <a:latin typeface="Montserrat" pitchFamily="2" charset="0"/>
              </a:rPr>
              <a:t>Highly Skilled</a:t>
            </a:r>
          </a:p>
        </p:txBody>
      </p:sp>
      <p:graphicFrame>
        <p:nvGraphicFramePr>
          <p:cNvPr id="8" name="Table 7">
            <a:extLst>
              <a:ext uri="{FF2B5EF4-FFF2-40B4-BE49-F238E27FC236}">
                <a16:creationId xmlns:a16="http://schemas.microsoft.com/office/drawing/2014/main" id="{B7CEE79C-22A7-BCBD-2D0A-1601F52F3F17}"/>
              </a:ext>
            </a:extLst>
          </p:cNvPr>
          <p:cNvGraphicFramePr>
            <a:graphicFrameLocks noGrp="1"/>
          </p:cNvGraphicFramePr>
          <p:nvPr/>
        </p:nvGraphicFramePr>
        <p:xfrm>
          <a:off x="2160397" y="6511122"/>
          <a:ext cx="8008535" cy="733534"/>
        </p:xfrm>
        <a:graphic>
          <a:graphicData uri="http://schemas.openxmlformats.org/drawingml/2006/table">
            <a:tbl>
              <a:tblPr firstRow="1" bandRow="1">
                <a:tableStyleId>{5C22544A-7EE6-4342-B048-85BDC9FD1C3A}</a:tableStyleId>
              </a:tblPr>
              <a:tblGrid>
                <a:gridCol w="3089324">
                  <a:extLst>
                    <a:ext uri="{9D8B030D-6E8A-4147-A177-3AD203B41FA5}">
                      <a16:colId xmlns:a16="http://schemas.microsoft.com/office/drawing/2014/main" val="4019851172"/>
                    </a:ext>
                  </a:extLst>
                </a:gridCol>
                <a:gridCol w="927896">
                  <a:extLst>
                    <a:ext uri="{9D8B030D-6E8A-4147-A177-3AD203B41FA5}">
                      <a16:colId xmlns:a16="http://schemas.microsoft.com/office/drawing/2014/main" val="4002824350"/>
                    </a:ext>
                  </a:extLst>
                </a:gridCol>
                <a:gridCol w="1326891">
                  <a:extLst>
                    <a:ext uri="{9D8B030D-6E8A-4147-A177-3AD203B41FA5}">
                      <a16:colId xmlns:a16="http://schemas.microsoft.com/office/drawing/2014/main" val="342240773"/>
                    </a:ext>
                  </a:extLst>
                </a:gridCol>
                <a:gridCol w="1326891">
                  <a:extLst>
                    <a:ext uri="{9D8B030D-6E8A-4147-A177-3AD203B41FA5}">
                      <a16:colId xmlns:a16="http://schemas.microsoft.com/office/drawing/2014/main" val="3389625682"/>
                    </a:ext>
                  </a:extLst>
                </a:gridCol>
                <a:gridCol w="1337533">
                  <a:extLst>
                    <a:ext uri="{9D8B030D-6E8A-4147-A177-3AD203B41FA5}">
                      <a16:colId xmlns:a16="http://schemas.microsoft.com/office/drawing/2014/main" val="2322878500"/>
                    </a:ext>
                  </a:extLst>
                </a:gridCol>
              </a:tblGrid>
              <a:tr h="366767">
                <a:tc>
                  <a:txBody>
                    <a:bodyPr/>
                    <a:lstStyle/>
                    <a:p>
                      <a:r>
                        <a:rPr lang="en-AU" sz="900" b="0" dirty="0">
                          <a:solidFill>
                            <a:srgbClr val="2E3842"/>
                          </a:solidFill>
                          <a:latin typeface="Montserrat" pitchFamily="2" charset="0"/>
                        </a:rPr>
                        <a:t>Coaching Skill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E3842"/>
                    </a:solidFill>
                  </a:tcPr>
                </a:tc>
                <a:tc>
                  <a:txBody>
                    <a:bodyPr/>
                    <a:lstStyle/>
                    <a:p>
                      <a:endParaRPr lang="en-AU" sz="11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11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3541261"/>
                  </a:ext>
                </a:extLst>
              </a:tr>
              <a:tr h="366767">
                <a:tc>
                  <a:txBody>
                    <a:bodyPr/>
                    <a:lstStyle/>
                    <a:p>
                      <a:r>
                        <a:rPr lang="en-AU" sz="900" dirty="0">
                          <a:solidFill>
                            <a:srgbClr val="2E3842"/>
                          </a:solidFill>
                          <a:latin typeface="Montserrat" pitchFamily="2" charset="0"/>
                        </a:rPr>
                        <a:t>Mentoring Skills</a:t>
                      </a: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AU" sz="900" b="0" i="0" u="none" strike="noStrike" kern="0" cap="none" spc="0" normalizeH="0" baseline="0" noProof="0" dirty="0">
                          <a:ln>
                            <a:noFill/>
                          </a:ln>
                          <a:solidFill>
                            <a:prstClr val="black"/>
                          </a:solidFill>
                          <a:effectLst/>
                          <a:uLnTx/>
                          <a:uFillTx/>
                          <a:latin typeface="Wingdings" panose="05000000000000000000" pitchFamily="2" charset="2"/>
                          <a:ea typeface="+mn-ea"/>
                          <a:cs typeface="+mn-cs"/>
                        </a:rPr>
                        <a:t>ü</a:t>
                      </a:r>
                      <a:endParaRPr lang="en-AU" sz="900" dirty="0"/>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68150"/>
                    </a:solidFill>
                  </a:tcPr>
                </a:tc>
                <a:tc>
                  <a:txBody>
                    <a:bodyPr/>
                    <a:lstStyle/>
                    <a:p>
                      <a:pPr algn="ctr"/>
                      <a:r>
                        <a:rPr kumimoji="0" lang="en-AU" sz="900" b="0" i="0" u="none" strike="noStrike" kern="0" cap="none" spc="0" normalizeH="0" baseline="0" noProof="0" dirty="0">
                          <a:ln>
                            <a:noFill/>
                          </a:ln>
                          <a:solidFill>
                            <a:schemeClr val="bg1"/>
                          </a:solidFill>
                          <a:effectLst/>
                          <a:uLnTx/>
                          <a:uFillTx/>
                          <a:latin typeface="Wingdings" panose="05000000000000000000" pitchFamily="2" charset="2"/>
                          <a:ea typeface="+mn-ea"/>
                          <a:cs typeface="+mn-cs"/>
                        </a:rPr>
                        <a:t>ü</a:t>
                      </a:r>
                      <a:endParaRPr lang="en-AU" sz="900" dirty="0">
                        <a:solidFill>
                          <a:schemeClr val="bg1"/>
                        </a:solidFill>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E3842"/>
                    </a:solidFill>
                  </a:tcPr>
                </a:tc>
                <a:tc>
                  <a:txBody>
                    <a:bodyPr/>
                    <a:lstStyle/>
                    <a:p>
                      <a:endParaRPr lang="en-AU" sz="11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AU" sz="1100" dirty="0">
                        <a:latin typeface="Montserrat" pitchFamily="2" charset="0"/>
                      </a:endParaRPr>
                    </a:p>
                  </a:txBody>
                  <a:tcPr marL="72787" marR="72787" marT="36394" marB="3639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8651370"/>
                  </a:ext>
                </a:extLst>
              </a:tr>
            </a:tbl>
          </a:graphicData>
        </a:graphic>
      </p:graphicFrame>
      <p:sp>
        <p:nvSpPr>
          <p:cNvPr id="2" name="Slide Number Placeholder 1">
            <a:extLst>
              <a:ext uri="{FF2B5EF4-FFF2-40B4-BE49-F238E27FC236}">
                <a16:creationId xmlns:a16="http://schemas.microsoft.com/office/drawing/2014/main" id="{75332762-60D9-FB1F-D5E2-40A7704357C9}"/>
              </a:ext>
            </a:extLst>
          </p:cNvPr>
          <p:cNvSpPr>
            <a:spLocks noGrp="1"/>
          </p:cNvSpPr>
          <p:nvPr>
            <p:ph type="sldNum" sz="quarter" idx="7"/>
          </p:nvPr>
        </p:nvSpPr>
        <p:spPr>
          <a:xfrm>
            <a:off x="7937500" y="6967657"/>
            <a:ext cx="2459482" cy="276999"/>
          </a:xfrm>
        </p:spPr>
        <p:txBody>
          <a:bodyPr/>
          <a:lstStyle/>
          <a:p>
            <a:fld id="{B6F15528-21DE-4FAA-801E-634DDDAF4B2B}" type="slidenum">
              <a:rPr lang="en-AU" smtClean="0"/>
              <a:t>5</a:t>
            </a:fld>
            <a:endParaRPr lang="en-AU" dirty="0"/>
          </a:p>
        </p:txBody>
      </p:sp>
    </p:spTree>
    <p:extLst>
      <p:ext uri="{BB962C8B-B14F-4D97-AF65-F5344CB8AC3E}">
        <p14:creationId xmlns:p14="http://schemas.microsoft.com/office/powerpoint/2010/main" val="39826383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6533F-BD63-CEBB-CA9C-566A63E57E32}"/>
              </a:ext>
            </a:extLst>
          </p:cNvPr>
          <p:cNvSpPr>
            <a:spLocks noGrp="1"/>
          </p:cNvSpPr>
          <p:nvPr>
            <p:ph type="title"/>
          </p:nvPr>
        </p:nvSpPr>
        <p:spPr>
          <a:xfrm>
            <a:off x="1048432" y="1027206"/>
            <a:ext cx="5944037" cy="505758"/>
          </a:xfrm>
        </p:spPr>
        <p:txBody>
          <a:bodyPr/>
          <a:lstStyle/>
          <a:p>
            <a:r>
              <a:rPr lang="en-AU"/>
              <a:t>SAN Adviser – Investment 101</a:t>
            </a:r>
          </a:p>
        </p:txBody>
      </p:sp>
      <p:pic>
        <p:nvPicPr>
          <p:cNvPr id="5" name="Picture 4">
            <a:extLst>
              <a:ext uri="{FF2B5EF4-FFF2-40B4-BE49-F238E27FC236}">
                <a16:creationId xmlns:a16="http://schemas.microsoft.com/office/drawing/2014/main" id="{4DBC43C7-5AA7-0041-6827-2CBEF8CA0D66}"/>
              </a:ext>
            </a:extLst>
          </p:cNvPr>
          <p:cNvPicPr>
            <a:picLocks noChangeAspect="1"/>
          </p:cNvPicPr>
          <p:nvPr/>
        </p:nvPicPr>
        <p:blipFill>
          <a:blip r:embed="rId2"/>
          <a:stretch>
            <a:fillRect/>
          </a:stretch>
        </p:blipFill>
        <p:spPr>
          <a:xfrm>
            <a:off x="1618937" y="1810401"/>
            <a:ext cx="9023771" cy="5392150"/>
          </a:xfrm>
          <a:prstGeom prst="rect">
            <a:avLst/>
          </a:prstGeom>
        </p:spPr>
      </p:pic>
      <p:sp>
        <p:nvSpPr>
          <p:cNvPr id="3" name="Slide Number Placeholder 3">
            <a:extLst>
              <a:ext uri="{FF2B5EF4-FFF2-40B4-BE49-F238E27FC236}">
                <a16:creationId xmlns:a16="http://schemas.microsoft.com/office/drawing/2014/main" id="{50950C83-0FC2-2970-5549-4735B7EA4CC9}"/>
              </a:ext>
            </a:extLst>
          </p:cNvPr>
          <p:cNvSpPr>
            <a:spLocks noGrp="1"/>
          </p:cNvSpPr>
          <p:nvPr>
            <p:ph type="sldNum" sz="quarter" idx="7"/>
          </p:nvPr>
        </p:nvSpPr>
        <p:spPr>
          <a:xfrm>
            <a:off x="7708900" y="7153624"/>
            <a:ext cx="2459482" cy="377825"/>
          </a:xfrm>
        </p:spPr>
        <p:txBody>
          <a:bodyPr/>
          <a:lstStyle/>
          <a:p>
            <a:fld id="{B6F15528-21DE-4FAA-801E-634DDDAF4B2B}" type="slidenum">
              <a:rPr lang="en-AU" smtClean="0"/>
              <a:t>50</a:t>
            </a:fld>
            <a:endParaRPr lang="en-AU" dirty="0"/>
          </a:p>
        </p:txBody>
      </p:sp>
    </p:spTree>
    <p:extLst>
      <p:ext uri="{BB962C8B-B14F-4D97-AF65-F5344CB8AC3E}">
        <p14:creationId xmlns:p14="http://schemas.microsoft.com/office/powerpoint/2010/main" val="40856389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7A0C2-A224-37AB-43C0-D3DAEB7D4BAA}"/>
              </a:ext>
            </a:extLst>
          </p:cNvPr>
          <p:cNvSpPr>
            <a:spLocks noGrp="1"/>
          </p:cNvSpPr>
          <p:nvPr>
            <p:ph type="title"/>
          </p:nvPr>
        </p:nvSpPr>
        <p:spPr>
          <a:xfrm>
            <a:off x="1026810" y="1054101"/>
            <a:ext cx="7065819" cy="430887"/>
          </a:xfrm>
        </p:spPr>
        <p:txBody>
          <a:bodyPr/>
          <a:lstStyle/>
          <a:p>
            <a:r>
              <a:rPr lang="en-AU"/>
              <a:t>Fair Vs Equal – Risk Vs Reward</a:t>
            </a:r>
          </a:p>
        </p:txBody>
      </p:sp>
      <p:pic>
        <p:nvPicPr>
          <p:cNvPr id="5" name="Picture 4">
            <a:extLst>
              <a:ext uri="{FF2B5EF4-FFF2-40B4-BE49-F238E27FC236}">
                <a16:creationId xmlns:a16="http://schemas.microsoft.com/office/drawing/2014/main" id="{7B66AAA7-B8AA-8F31-40BF-05E49BE49573}"/>
              </a:ext>
            </a:extLst>
          </p:cNvPr>
          <p:cNvPicPr>
            <a:picLocks noChangeAspect="1"/>
          </p:cNvPicPr>
          <p:nvPr/>
        </p:nvPicPr>
        <p:blipFill>
          <a:blip r:embed="rId2"/>
          <a:srcRect l="1811"/>
          <a:stretch/>
        </p:blipFill>
        <p:spPr>
          <a:xfrm>
            <a:off x="1026810" y="2361886"/>
            <a:ext cx="9205080" cy="4705290"/>
          </a:xfrm>
          <a:prstGeom prst="rect">
            <a:avLst/>
          </a:prstGeom>
        </p:spPr>
      </p:pic>
      <p:sp>
        <p:nvSpPr>
          <p:cNvPr id="3" name="Slide Number Placeholder 3">
            <a:extLst>
              <a:ext uri="{FF2B5EF4-FFF2-40B4-BE49-F238E27FC236}">
                <a16:creationId xmlns:a16="http://schemas.microsoft.com/office/drawing/2014/main" id="{D8108F82-2305-A778-D9F7-19ADFF68539F}"/>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51</a:t>
            </a:fld>
            <a:endParaRPr lang="en-AU" dirty="0"/>
          </a:p>
        </p:txBody>
      </p:sp>
    </p:spTree>
    <p:extLst>
      <p:ext uri="{BB962C8B-B14F-4D97-AF65-F5344CB8AC3E}">
        <p14:creationId xmlns:p14="http://schemas.microsoft.com/office/powerpoint/2010/main" val="30624513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F6649-D317-FCED-40AD-F69F0FAF7CA2}"/>
              </a:ext>
            </a:extLst>
          </p:cNvPr>
          <p:cNvSpPr>
            <a:spLocks noGrp="1"/>
          </p:cNvSpPr>
          <p:nvPr>
            <p:ph type="title"/>
          </p:nvPr>
        </p:nvSpPr>
        <p:spPr>
          <a:xfrm>
            <a:off x="1067151" y="1027206"/>
            <a:ext cx="7143322" cy="430887"/>
          </a:xfrm>
        </p:spPr>
        <p:txBody>
          <a:bodyPr/>
          <a:lstStyle/>
          <a:p>
            <a:r>
              <a:rPr lang="en-AU"/>
              <a:t>Estate Considerations – Fair Vs Equal</a:t>
            </a:r>
          </a:p>
        </p:txBody>
      </p:sp>
      <p:pic>
        <p:nvPicPr>
          <p:cNvPr id="5" name="Picture 4">
            <a:extLst>
              <a:ext uri="{FF2B5EF4-FFF2-40B4-BE49-F238E27FC236}">
                <a16:creationId xmlns:a16="http://schemas.microsoft.com/office/drawing/2014/main" id="{7A06D4F9-29F3-9F13-C77C-09A37CF1F470}"/>
              </a:ext>
            </a:extLst>
          </p:cNvPr>
          <p:cNvPicPr>
            <a:picLocks noChangeAspect="1"/>
          </p:cNvPicPr>
          <p:nvPr/>
        </p:nvPicPr>
        <p:blipFill>
          <a:blip r:embed="rId2"/>
          <a:stretch>
            <a:fillRect/>
          </a:stretch>
        </p:blipFill>
        <p:spPr>
          <a:xfrm>
            <a:off x="930588" y="1833867"/>
            <a:ext cx="9762812" cy="5319970"/>
          </a:xfrm>
          <a:prstGeom prst="rect">
            <a:avLst/>
          </a:prstGeom>
        </p:spPr>
      </p:pic>
      <p:sp>
        <p:nvSpPr>
          <p:cNvPr id="3" name="Slide Number Placeholder 3">
            <a:extLst>
              <a:ext uri="{FF2B5EF4-FFF2-40B4-BE49-F238E27FC236}">
                <a16:creationId xmlns:a16="http://schemas.microsoft.com/office/drawing/2014/main" id="{C78FBCE3-7C2E-E1B0-1DB0-8D45BE78F9FB}"/>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52</a:t>
            </a:fld>
            <a:endParaRPr lang="en-AU" dirty="0"/>
          </a:p>
        </p:txBody>
      </p:sp>
    </p:spTree>
    <p:extLst>
      <p:ext uri="{BB962C8B-B14F-4D97-AF65-F5344CB8AC3E}">
        <p14:creationId xmlns:p14="http://schemas.microsoft.com/office/powerpoint/2010/main" val="17266257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62191" y="1006991"/>
            <a:ext cx="3179503" cy="443537"/>
          </a:xfrm>
          <a:prstGeom prst="rect">
            <a:avLst/>
          </a:prstGeom>
        </p:spPr>
        <p:txBody>
          <a:bodyPr vert="horz" wrap="square" lIns="0" tIns="12585" rIns="0" bIns="0" rtlCol="0">
            <a:spAutoFit/>
          </a:bodyPr>
          <a:lstStyle/>
          <a:p>
            <a:pPr marL="12588" rtl="0">
              <a:spcBef>
                <a:spcPts val="99"/>
              </a:spcBef>
            </a:pPr>
            <a:r>
              <a:rPr lang="en-AU" spc="-10"/>
              <a:t>Balancing Risks</a:t>
            </a:r>
            <a:endParaRPr spc="-10"/>
          </a:p>
        </p:txBody>
      </p:sp>
      <p:pic>
        <p:nvPicPr>
          <p:cNvPr id="4" name="Picture 3">
            <a:extLst>
              <a:ext uri="{FF2B5EF4-FFF2-40B4-BE49-F238E27FC236}">
                <a16:creationId xmlns:a16="http://schemas.microsoft.com/office/drawing/2014/main" id="{A6F1CA81-CD83-FFB2-5774-19669BF2B924}"/>
              </a:ext>
            </a:extLst>
          </p:cNvPr>
          <p:cNvPicPr>
            <a:picLocks noChangeAspect="1"/>
          </p:cNvPicPr>
          <p:nvPr/>
        </p:nvPicPr>
        <p:blipFill>
          <a:blip r:embed="rId3"/>
          <a:stretch>
            <a:fillRect/>
          </a:stretch>
        </p:blipFill>
        <p:spPr>
          <a:xfrm>
            <a:off x="1165870" y="1450528"/>
            <a:ext cx="9201811" cy="5955832"/>
          </a:xfrm>
          <a:prstGeom prst="rect">
            <a:avLst/>
          </a:prstGeom>
        </p:spPr>
      </p:pic>
      <p:sp>
        <p:nvSpPr>
          <p:cNvPr id="3" name="Slide Number Placeholder 3">
            <a:extLst>
              <a:ext uri="{FF2B5EF4-FFF2-40B4-BE49-F238E27FC236}">
                <a16:creationId xmlns:a16="http://schemas.microsoft.com/office/drawing/2014/main" id="{DB7D4A2E-A5E8-78A0-D026-A60BA0CB62AC}"/>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53</a:t>
            </a:fld>
            <a:endParaRPr lang="en-AU" dirty="0"/>
          </a:p>
        </p:txBody>
      </p:sp>
    </p:spTree>
    <p:extLst>
      <p:ext uri="{BB962C8B-B14F-4D97-AF65-F5344CB8AC3E}">
        <p14:creationId xmlns:p14="http://schemas.microsoft.com/office/powerpoint/2010/main" val="40263200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176CC-A79B-8433-F170-2E020EC6ABCB}"/>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97B98C97-24F5-A25E-E187-D3D83D1CEBDC}"/>
              </a:ext>
            </a:extLst>
          </p:cNvPr>
          <p:cNvSpPr txBox="1">
            <a:spLocks noGrp="1"/>
          </p:cNvSpPr>
          <p:nvPr>
            <p:ph type="title"/>
          </p:nvPr>
        </p:nvSpPr>
        <p:spPr>
          <a:xfrm>
            <a:off x="981635" y="1119487"/>
            <a:ext cx="9850584" cy="443595"/>
          </a:xfrm>
          <a:prstGeom prst="rect">
            <a:avLst/>
          </a:prstGeom>
        </p:spPr>
        <p:txBody>
          <a:bodyPr vert="horz" wrap="square" lIns="0" tIns="12585" rIns="0" bIns="0" rtlCol="0">
            <a:spAutoFit/>
          </a:bodyPr>
          <a:lstStyle/>
          <a:p>
            <a:pPr marL="12588" rtl="0">
              <a:spcBef>
                <a:spcPts val="99"/>
              </a:spcBef>
            </a:pPr>
            <a:r>
              <a:rPr lang="en-AU" spc="-10"/>
              <a:t>SAN Adviser | Prudent Person Lens | Financial Wealth</a:t>
            </a:r>
            <a:endParaRPr spc="-10"/>
          </a:p>
        </p:txBody>
      </p:sp>
      <p:pic>
        <p:nvPicPr>
          <p:cNvPr id="4" name="Picture 3">
            <a:extLst>
              <a:ext uri="{FF2B5EF4-FFF2-40B4-BE49-F238E27FC236}">
                <a16:creationId xmlns:a16="http://schemas.microsoft.com/office/drawing/2014/main" id="{147D0C0C-0232-03C7-546B-C2D561B5C3FF}"/>
              </a:ext>
            </a:extLst>
          </p:cNvPr>
          <p:cNvPicPr>
            <a:picLocks noChangeAspect="1"/>
          </p:cNvPicPr>
          <p:nvPr/>
        </p:nvPicPr>
        <p:blipFill>
          <a:blip r:embed="rId3"/>
          <a:stretch>
            <a:fillRect/>
          </a:stretch>
        </p:blipFill>
        <p:spPr>
          <a:xfrm>
            <a:off x="1231252" y="1918971"/>
            <a:ext cx="9192970" cy="5409676"/>
          </a:xfrm>
          <a:prstGeom prst="rect">
            <a:avLst/>
          </a:prstGeom>
        </p:spPr>
      </p:pic>
      <p:sp>
        <p:nvSpPr>
          <p:cNvPr id="3" name="Slide Number Placeholder 3">
            <a:extLst>
              <a:ext uri="{FF2B5EF4-FFF2-40B4-BE49-F238E27FC236}">
                <a16:creationId xmlns:a16="http://schemas.microsoft.com/office/drawing/2014/main" id="{1121EF5D-685E-9D10-4E3E-F70B045C51AE}"/>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54</a:t>
            </a:fld>
            <a:endParaRPr lang="en-AU" dirty="0"/>
          </a:p>
        </p:txBody>
      </p:sp>
    </p:spTree>
    <p:extLst>
      <p:ext uri="{BB962C8B-B14F-4D97-AF65-F5344CB8AC3E}">
        <p14:creationId xmlns:p14="http://schemas.microsoft.com/office/powerpoint/2010/main" val="42480159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34FCD-99D9-C78B-D114-AB4BF970059F}"/>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3D88A282-FF17-FBF3-BE17-DD3F4F69EAD6}"/>
              </a:ext>
            </a:extLst>
          </p:cNvPr>
          <p:cNvSpPr txBox="1">
            <a:spLocks noGrp="1"/>
          </p:cNvSpPr>
          <p:nvPr>
            <p:ph type="title"/>
          </p:nvPr>
        </p:nvSpPr>
        <p:spPr>
          <a:xfrm>
            <a:off x="1045059" y="1003908"/>
            <a:ext cx="9137618" cy="443537"/>
          </a:xfrm>
          <a:prstGeom prst="rect">
            <a:avLst/>
          </a:prstGeom>
        </p:spPr>
        <p:txBody>
          <a:bodyPr vert="horz" wrap="square" lIns="0" tIns="12585" rIns="0" bIns="0" rtlCol="0">
            <a:spAutoFit/>
          </a:bodyPr>
          <a:lstStyle/>
          <a:p>
            <a:pPr marL="12588" rtl="0">
              <a:spcBef>
                <a:spcPts val="99"/>
              </a:spcBef>
            </a:pPr>
            <a:r>
              <a:rPr lang="en-AU" spc="-10"/>
              <a:t>Decisions Matrix</a:t>
            </a:r>
            <a:endParaRPr spc="-10"/>
          </a:p>
        </p:txBody>
      </p:sp>
      <p:pic>
        <p:nvPicPr>
          <p:cNvPr id="4" name="Picture 3">
            <a:extLst>
              <a:ext uri="{FF2B5EF4-FFF2-40B4-BE49-F238E27FC236}">
                <a16:creationId xmlns:a16="http://schemas.microsoft.com/office/drawing/2014/main" id="{06C861A3-8BD8-12E7-7A4B-71AC629A1D14}"/>
              </a:ext>
            </a:extLst>
          </p:cNvPr>
          <p:cNvPicPr>
            <a:picLocks noChangeAspect="1"/>
          </p:cNvPicPr>
          <p:nvPr/>
        </p:nvPicPr>
        <p:blipFill>
          <a:blip r:embed="rId3"/>
          <a:srcRect l="3121"/>
          <a:stretch/>
        </p:blipFill>
        <p:spPr>
          <a:xfrm>
            <a:off x="903791" y="1568469"/>
            <a:ext cx="9278886" cy="5746731"/>
          </a:xfrm>
          <a:prstGeom prst="rect">
            <a:avLst/>
          </a:prstGeom>
        </p:spPr>
      </p:pic>
      <p:sp>
        <p:nvSpPr>
          <p:cNvPr id="3" name="Slide Number Placeholder 3">
            <a:extLst>
              <a:ext uri="{FF2B5EF4-FFF2-40B4-BE49-F238E27FC236}">
                <a16:creationId xmlns:a16="http://schemas.microsoft.com/office/drawing/2014/main" id="{4359AB8C-405B-4920-5663-A981445ADD32}"/>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55</a:t>
            </a:fld>
            <a:endParaRPr lang="en-AU" dirty="0"/>
          </a:p>
        </p:txBody>
      </p:sp>
    </p:spTree>
    <p:extLst>
      <p:ext uri="{BB962C8B-B14F-4D97-AF65-F5344CB8AC3E}">
        <p14:creationId xmlns:p14="http://schemas.microsoft.com/office/powerpoint/2010/main" val="37213196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26B7E-333E-B0E1-59E2-2A9423E044D9}"/>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E3C79035-0FE6-B25D-D7A5-383341A7CC8A}"/>
              </a:ext>
            </a:extLst>
          </p:cNvPr>
          <p:cNvSpPr txBox="1">
            <a:spLocks noGrp="1"/>
          </p:cNvSpPr>
          <p:nvPr>
            <p:ph type="title"/>
          </p:nvPr>
        </p:nvSpPr>
        <p:spPr>
          <a:xfrm>
            <a:off x="1002586" y="1223237"/>
            <a:ext cx="3529073" cy="443537"/>
          </a:xfrm>
          <a:prstGeom prst="rect">
            <a:avLst/>
          </a:prstGeom>
        </p:spPr>
        <p:txBody>
          <a:bodyPr vert="horz" wrap="square" lIns="0" tIns="12585" rIns="0" bIns="0" rtlCol="0">
            <a:spAutoFit/>
          </a:bodyPr>
          <a:lstStyle/>
          <a:p>
            <a:pPr marL="12588" rtl="0">
              <a:spcBef>
                <a:spcPts val="99"/>
              </a:spcBef>
            </a:pPr>
            <a:r>
              <a:rPr lang="en-AU" spc="-10"/>
              <a:t>Investment &amp; Risk</a:t>
            </a:r>
            <a:endParaRPr spc="-10"/>
          </a:p>
        </p:txBody>
      </p:sp>
      <p:pic>
        <p:nvPicPr>
          <p:cNvPr id="4" name="Picture 3">
            <a:extLst>
              <a:ext uri="{FF2B5EF4-FFF2-40B4-BE49-F238E27FC236}">
                <a16:creationId xmlns:a16="http://schemas.microsoft.com/office/drawing/2014/main" id="{B68C86AF-14A6-C747-C709-A0E39CA69BDB}"/>
              </a:ext>
            </a:extLst>
          </p:cNvPr>
          <p:cNvPicPr>
            <a:picLocks noChangeAspect="1"/>
          </p:cNvPicPr>
          <p:nvPr/>
        </p:nvPicPr>
        <p:blipFill>
          <a:blip r:embed="rId3"/>
          <a:srcRect r="1696"/>
          <a:stretch/>
        </p:blipFill>
        <p:spPr>
          <a:xfrm>
            <a:off x="935351" y="1896429"/>
            <a:ext cx="9526461" cy="4436834"/>
          </a:xfrm>
          <a:prstGeom prst="rect">
            <a:avLst/>
          </a:prstGeom>
        </p:spPr>
      </p:pic>
      <p:sp>
        <p:nvSpPr>
          <p:cNvPr id="3" name="Slide Number Placeholder 3">
            <a:extLst>
              <a:ext uri="{FF2B5EF4-FFF2-40B4-BE49-F238E27FC236}">
                <a16:creationId xmlns:a16="http://schemas.microsoft.com/office/drawing/2014/main" id="{B310C812-3ED8-3F82-B812-D295CA1F90F5}"/>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56</a:t>
            </a:fld>
            <a:endParaRPr lang="en-AU" dirty="0"/>
          </a:p>
        </p:txBody>
      </p:sp>
    </p:spTree>
    <p:extLst>
      <p:ext uri="{BB962C8B-B14F-4D97-AF65-F5344CB8AC3E}">
        <p14:creationId xmlns:p14="http://schemas.microsoft.com/office/powerpoint/2010/main" val="10666920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F9638-84C5-2788-DEB0-CBDEB114C764}"/>
              </a:ext>
            </a:extLst>
          </p:cNvPr>
          <p:cNvSpPr>
            <a:spLocks noGrp="1"/>
          </p:cNvSpPr>
          <p:nvPr>
            <p:ph type="title"/>
          </p:nvPr>
        </p:nvSpPr>
        <p:spPr>
          <a:xfrm>
            <a:off x="1169457" y="1054101"/>
            <a:ext cx="4477385" cy="1107996"/>
          </a:xfrm>
        </p:spPr>
        <p:txBody>
          <a:bodyPr/>
          <a:lstStyle/>
          <a:p>
            <a:r>
              <a:rPr lang="en-AU" dirty="0"/>
              <a:t>Introducing:</a:t>
            </a:r>
            <a:br>
              <a:rPr lang="en-AU" dirty="0"/>
            </a:br>
            <a:r>
              <a:rPr lang="en-AU" dirty="0"/>
              <a:t>Matina Jewell</a:t>
            </a:r>
            <a:br>
              <a:rPr lang="en-AU" dirty="0"/>
            </a:br>
            <a:r>
              <a:rPr lang="en-AU" sz="1600" dirty="0">
                <a:solidFill>
                  <a:srgbClr val="2E3842"/>
                </a:solidFill>
              </a:rPr>
              <a:t>www.matinajewell.com </a:t>
            </a:r>
            <a:endParaRPr lang="en-AU" dirty="0">
              <a:solidFill>
                <a:srgbClr val="2E3842"/>
              </a:solidFill>
            </a:endParaRPr>
          </a:p>
        </p:txBody>
      </p:sp>
      <p:sp>
        <p:nvSpPr>
          <p:cNvPr id="3" name="Text Placeholder 2">
            <a:extLst>
              <a:ext uri="{FF2B5EF4-FFF2-40B4-BE49-F238E27FC236}">
                <a16:creationId xmlns:a16="http://schemas.microsoft.com/office/drawing/2014/main" id="{21BF11E8-BFFF-30BE-B0E7-87DDBB6CBFC0}"/>
              </a:ext>
            </a:extLst>
          </p:cNvPr>
          <p:cNvSpPr>
            <a:spLocks noGrp="1"/>
          </p:cNvSpPr>
          <p:nvPr>
            <p:ph type="body" idx="1"/>
          </p:nvPr>
        </p:nvSpPr>
        <p:spPr>
          <a:xfrm>
            <a:off x="1040254" y="2406650"/>
            <a:ext cx="8769772" cy="4473019"/>
          </a:xfrm>
        </p:spPr>
        <p:txBody>
          <a:bodyPr/>
          <a:lstStyle/>
          <a:p>
            <a:pPr marL="457200">
              <a:spcAft>
                <a:spcPts val="800"/>
              </a:spcAft>
              <a:buNone/>
            </a:pPr>
            <a:r>
              <a:rPr lang="en-GB" sz="1400" dirty="0">
                <a:solidFill>
                  <a:srgbClr val="000000"/>
                </a:solidFill>
                <a:effectLst/>
                <a:latin typeface="Montserrat" pitchFamily="2" charset="0"/>
                <a:ea typeface="Calibri" panose="020F0502020204030204" pitchFamily="34" charset="0"/>
              </a:rPr>
              <a:t>Major Matina Jewell grew up in the hinterland of Byron Bay and joined the Army at age 17.  During her 15-year military career Matina:</a:t>
            </a:r>
            <a:endParaRPr lang="en-AU" sz="1400" dirty="0">
              <a:effectLst/>
              <a:latin typeface="Montserrat" pitchFamily="2" charset="0"/>
              <a:ea typeface="Calibri" panose="020F0502020204030204" pitchFamily="34" charset="0"/>
            </a:endParaRPr>
          </a:p>
          <a:p>
            <a:pPr marL="457200">
              <a:spcAft>
                <a:spcPts val="800"/>
              </a:spcAft>
              <a:buNone/>
            </a:pPr>
            <a:r>
              <a:rPr lang="en-GB" sz="1400" dirty="0">
                <a:solidFill>
                  <a:srgbClr val="000000"/>
                </a:solidFill>
                <a:effectLst/>
                <a:latin typeface="Montserrat" pitchFamily="2" charset="0"/>
                <a:ea typeface="Calibri" panose="020F0502020204030204" pitchFamily="34" charset="0"/>
              </a:rPr>
              <a:t> </a:t>
            </a:r>
            <a:r>
              <a:rPr lang="en-GB" sz="1400" dirty="0">
                <a:solidFill>
                  <a:srgbClr val="000000"/>
                </a:solidFill>
                <a:effectLst/>
                <a:latin typeface="Montserrat" pitchFamily="2" charset="0"/>
                <a:ea typeface="Calibri" panose="020F0502020204030204" pitchFamily="34" charset="0"/>
                <a:cs typeface="Calibri" panose="020F0502020204030204" pitchFamily="34" charset="0"/>
              </a:rPr>
              <a:t>Served on five missions and earned nine military service &amp; war medals</a:t>
            </a:r>
            <a:endParaRPr lang="en-AU" sz="1400" dirty="0">
              <a:effectLst/>
              <a:latin typeface="Montserrat" pitchFamily="2" charset="0"/>
              <a:ea typeface="Calibri" panose="020F0502020204030204" pitchFamily="34" charset="0"/>
              <a:cs typeface="Calibri" panose="020F0502020204030204" pitchFamily="34" charset="0"/>
            </a:endParaRPr>
          </a:p>
          <a:p>
            <a:pPr marL="457200">
              <a:buNone/>
            </a:pPr>
            <a:r>
              <a:rPr lang="en-GB" sz="1400" dirty="0">
                <a:solidFill>
                  <a:srgbClr val="000000"/>
                </a:solidFill>
                <a:effectLst/>
                <a:latin typeface="Montserrat" pitchFamily="2" charset="0"/>
                <a:ea typeface="Calibri" panose="020F0502020204030204" pitchFamily="34" charset="0"/>
              </a:rPr>
              <a:t> </a:t>
            </a:r>
            <a:endParaRPr lang="en-AU" sz="1400" dirty="0">
              <a:effectLst/>
              <a:latin typeface="Montserrat" pitchFamily="2" charset="0"/>
              <a:ea typeface="Calibri" panose="020F0502020204030204" pitchFamily="34" charset="0"/>
            </a:endParaRPr>
          </a:p>
          <a:p>
            <a:pPr marL="342900" lvl="0" indent="-342900">
              <a:spcAft>
                <a:spcPts val="800"/>
              </a:spcAft>
              <a:buFont typeface="Arial" panose="020B0604020202020204" pitchFamily="34" charset="0"/>
              <a:buChar char="·"/>
            </a:pPr>
            <a:r>
              <a:rPr lang="en-GB" sz="1400" dirty="0">
                <a:solidFill>
                  <a:srgbClr val="000000"/>
                </a:solidFill>
                <a:effectLst/>
                <a:latin typeface="Montserrat" pitchFamily="2" charset="0"/>
                <a:ea typeface="Calibri" panose="020F0502020204030204" pitchFamily="34" charset="0"/>
                <a:cs typeface="Calibri" panose="020F0502020204030204" pitchFamily="34" charset="0"/>
              </a:rPr>
              <a:t>Is the only Australian to receive two Republic of Lebanon war medals for acts of bravery on the battlefield and being wounded in combat</a:t>
            </a:r>
          </a:p>
          <a:p>
            <a:pPr marL="342900" lvl="0" indent="-342900">
              <a:spcAft>
                <a:spcPts val="800"/>
              </a:spcAft>
              <a:buFont typeface="Arial" panose="020B0604020202020204" pitchFamily="34" charset="0"/>
              <a:buChar char="·"/>
            </a:pPr>
            <a:r>
              <a:rPr lang="en-GB" sz="1400" dirty="0">
                <a:solidFill>
                  <a:srgbClr val="000000"/>
                </a:solidFill>
                <a:effectLst/>
                <a:latin typeface="Montserrat" pitchFamily="2" charset="0"/>
                <a:ea typeface="Calibri" panose="020F0502020204030204" pitchFamily="34" charset="0"/>
                <a:cs typeface="Calibri" panose="020F0502020204030204" pitchFamily="34" charset="0"/>
              </a:rPr>
              <a:t>Completed the physically demanding Navy divers’ course</a:t>
            </a:r>
            <a:endParaRPr lang="en-AU" sz="1400" dirty="0">
              <a:effectLst/>
              <a:latin typeface="Montserrat" pitchFamily="2" charset="0"/>
              <a:ea typeface="Calibri" panose="020F0502020204030204" pitchFamily="34" charset="0"/>
              <a:cs typeface="Calibri" panose="020F0502020204030204" pitchFamily="34" charset="0"/>
            </a:endParaRPr>
          </a:p>
          <a:p>
            <a:pPr marL="342900" lvl="0" indent="-342900">
              <a:spcAft>
                <a:spcPts val="800"/>
              </a:spcAft>
              <a:buFont typeface="Arial" panose="020B0604020202020204" pitchFamily="34" charset="0"/>
              <a:buChar char="·"/>
            </a:pPr>
            <a:r>
              <a:rPr lang="en-GB" sz="1400" dirty="0">
                <a:solidFill>
                  <a:srgbClr val="000000"/>
                </a:solidFill>
                <a:effectLst/>
                <a:latin typeface="Montserrat" pitchFamily="2" charset="0"/>
                <a:ea typeface="Calibri" panose="020F0502020204030204" pitchFamily="34" charset="0"/>
                <a:cs typeface="Calibri" panose="020F0502020204030204" pitchFamily="34" charset="0"/>
              </a:rPr>
              <a:t>Served with American Navy Seals</a:t>
            </a:r>
            <a:endParaRPr lang="en-AU" sz="1400" dirty="0">
              <a:effectLst/>
              <a:latin typeface="Montserrat" pitchFamily="2" charset="0"/>
              <a:ea typeface="Calibri" panose="020F0502020204030204" pitchFamily="34" charset="0"/>
              <a:cs typeface="Calibri" panose="020F0502020204030204" pitchFamily="34" charset="0"/>
            </a:endParaRPr>
          </a:p>
          <a:p>
            <a:pPr marL="342900" lvl="0" indent="-342900">
              <a:spcAft>
                <a:spcPts val="800"/>
              </a:spcAft>
              <a:buFont typeface="Arial" panose="020B0604020202020204" pitchFamily="34" charset="0"/>
              <a:buChar char="·"/>
            </a:pPr>
            <a:r>
              <a:rPr lang="en-GB" sz="1400" dirty="0">
                <a:solidFill>
                  <a:srgbClr val="000000"/>
                </a:solidFill>
                <a:effectLst/>
                <a:latin typeface="Montserrat" pitchFamily="2" charset="0"/>
                <a:ea typeface="Calibri" panose="020F0502020204030204" pitchFamily="34" charset="0"/>
                <a:cs typeface="Calibri" panose="020F0502020204030204" pitchFamily="34" charset="0"/>
              </a:rPr>
              <a:t>Tracked-down war lords in the Solomon Islands</a:t>
            </a:r>
            <a:endParaRPr lang="en-AU" sz="1400" dirty="0">
              <a:effectLst/>
              <a:latin typeface="Montserrat" pitchFamily="2" charset="0"/>
              <a:ea typeface="Calibri" panose="020F0502020204030204" pitchFamily="34" charset="0"/>
              <a:cs typeface="Calibri" panose="020F0502020204030204" pitchFamily="34" charset="0"/>
            </a:endParaRPr>
          </a:p>
          <a:p>
            <a:pPr marL="342900" lvl="0" indent="-342900">
              <a:spcAft>
                <a:spcPts val="800"/>
              </a:spcAft>
              <a:buFont typeface="Arial" panose="020B0604020202020204" pitchFamily="34" charset="0"/>
              <a:buChar char="·"/>
            </a:pPr>
            <a:r>
              <a:rPr lang="en-GB" sz="1400" dirty="0">
                <a:solidFill>
                  <a:srgbClr val="000000"/>
                </a:solidFill>
                <a:effectLst/>
                <a:latin typeface="Montserrat" pitchFamily="2" charset="0"/>
                <a:ea typeface="Calibri" panose="020F0502020204030204" pitchFamily="34" charset="0"/>
                <a:cs typeface="Calibri" panose="020F0502020204030204" pitchFamily="34" charset="0"/>
              </a:rPr>
              <a:t>Fast-roped from helicopters and boarded smuggler ships in the Arabian Gulf, and</a:t>
            </a:r>
            <a:endParaRPr lang="en-AU" sz="1400" dirty="0">
              <a:effectLst/>
              <a:latin typeface="Montserrat" pitchFamily="2" charset="0"/>
              <a:ea typeface="Calibri" panose="020F0502020204030204" pitchFamily="34" charset="0"/>
              <a:cs typeface="Calibri" panose="020F0502020204030204" pitchFamily="34" charset="0"/>
            </a:endParaRPr>
          </a:p>
          <a:p>
            <a:pPr marL="342900" lvl="0" indent="-342900">
              <a:spcAft>
                <a:spcPts val="800"/>
              </a:spcAft>
              <a:buFont typeface="Arial" panose="020B0604020202020204" pitchFamily="34" charset="0"/>
              <a:buChar char="·"/>
            </a:pPr>
            <a:r>
              <a:rPr lang="en-GB" sz="1400" dirty="0">
                <a:solidFill>
                  <a:srgbClr val="000000"/>
                </a:solidFill>
                <a:effectLst/>
                <a:latin typeface="Montserrat" pitchFamily="2" charset="0"/>
                <a:ea typeface="Calibri" panose="020F0502020204030204" pitchFamily="34" charset="0"/>
                <a:cs typeface="Calibri" panose="020F0502020204030204" pitchFamily="34" charset="0"/>
              </a:rPr>
              <a:t>Was posted as a peacekeeper with the United Nations in Syria and Lebanon.</a:t>
            </a:r>
            <a:endParaRPr lang="en-AU" sz="1400" dirty="0">
              <a:effectLst/>
              <a:latin typeface="Montserrat" pitchFamily="2" charset="0"/>
              <a:ea typeface="Calibri" panose="020F0502020204030204" pitchFamily="34" charset="0"/>
              <a:cs typeface="Calibri" panose="020F0502020204030204" pitchFamily="34" charset="0"/>
            </a:endParaRPr>
          </a:p>
          <a:p>
            <a:pPr marL="457200">
              <a:spcAft>
                <a:spcPts val="800"/>
              </a:spcAft>
              <a:buNone/>
            </a:pPr>
            <a:r>
              <a:rPr lang="en-GB" sz="1400" dirty="0">
                <a:solidFill>
                  <a:srgbClr val="000000"/>
                </a:solidFill>
                <a:effectLst/>
                <a:latin typeface="Montserrat" pitchFamily="2" charset="0"/>
                <a:ea typeface="Calibri" panose="020F0502020204030204" pitchFamily="34" charset="0"/>
              </a:rPr>
              <a:t> Medically retired, Matina served on the Prime Ministerial Advisory Council and continues to champion change for our injured war veterans.</a:t>
            </a:r>
            <a:endParaRPr lang="en-AU" sz="1400" dirty="0">
              <a:effectLst/>
              <a:latin typeface="Montserrat" pitchFamily="2" charset="0"/>
              <a:ea typeface="Calibri" panose="020F0502020204030204" pitchFamily="34" charset="0"/>
            </a:endParaRPr>
          </a:p>
          <a:p>
            <a:pPr marL="457200">
              <a:spcAft>
                <a:spcPts val="800"/>
              </a:spcAft>
              <a:buNone/>
            </a:pPr>
            <a:r>
              <a:rPr lang="en-GB" sz="1400" dirty="0">
                <a:solidFill>
                  <a:srgbClr val="000000"/>
                </a:solidFill>
                <a:effectLst/>
                <a:latin typeface="Montserrat" pitchFamily="2" charset="0"/>
                <a:ea typeface="Calibri" panose="020F0502020204030204" pitchFamily="34" charset="0"/>
              </a:rPr>
              <a:t> Among her many honorary roles, Matina is a founding ambassador for Project Thankful, a movement partnered with the United Nations to help empower women and children globally.</a:t>
            </a:r>
            <a:endParaRPr lang="en-AU" sz="1400" dirty="0">
              <a:effectLst/>
              <a:latin typeface="Montserrat" pitchFamily="2" charset="0"/>
              <a:ea typeface="Calibri" panose="020F0502020204030204" pitchFamily="34" charset="0"/>
            </a:endParaRPr>
          </a:p>
        </p:txBody>
      </p:sp>
      <p:pic>
        <p:nvPicPr>
          <p:cNvPr id="5" name="Picture 4">
            <a:extLst>
              <a:ext uri="{FF2B5EF4-FFF2-40B4-BE49-F238E27FC236}">
                <a16:creationId xmlns:a16="http://schemas.microsoft.com/office/drawing/2014/main" id="{BF791C89-DCE9-4937-C12C-DBF30A6AE551}"/>
              </a:ext>
            </a:extLst>
          </p:cNvPr>
          <p:cNvPicPr>
            <a:picLocks noChangeAspect="1"/>
          </p:cNvPicPr>
          <p:nvPr/>
        </p:nvPicPr>
        <p:blipFill>
          <a:blip r:embed="rId2"/>
          <a:stretch>
            <a:fillRect/>
          </a:stretch>
        </p:blipFill>
        <p:spPr>
          <a:xfrm>
            <a:off x="8166100" y="774700"/>
            <a:ext cx="1183728" cy="1413119"/>
          </a:xfrm>
          <a:prstGeom prst="rect">
            <a:avLst/>
          </a:prstGeom>
        </p:spPr>
      </p:pic>
      <p:sp>
        <p:nvSpPr>
          <p:cNvPr id="6" name="Slide Number Placeholder 3">
            <a:extLst>
              <a:ext uri="{FF2B5EF4-FFF2-40B4-BE49-F238E27FC236}">
                <a16:creationId xmlns:a16="http://schemas.microsoft.com/office/drawing/2014/main" id="{608482C7-FA93-E5ED-5277-AC964EAC2576}"/>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57</a:t>
            </a:fld>
            <a:endParaRPr lang="en-AU" dirty="0"/>
          </a:p>
        </p:txBody>
      </p:sp>
    </p:spTree>
    <p:extLst>
      <p:ext uri="{BB962C8B-B14F-4D97-AF65-F5344CB8AC3E}">
        <p14:creationId xmlns:p14="http://schemas.microsoft.com/office/powerpoint/2010/main" val="4380493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4F4E3F-3FFC-60B8-61D3-B0D6010337AB}"/>
              </a:ext>
            </a:extLst>
          </p:cNvPr>
          <p:cNvPicPr>
            <a:picLocks noChangeAspect="1"/>
          </p:cNvPicPr>
          <p:nvPr/>
        </p:nvPicPr>
        <p:blipFill>
          <a:blip r:embed="rId2"/>
          <a:stretch>
            <a:fillRect/>
          </a:stretch>
        </p:blipFill>
        <p:spPr>
          <a:xfrm>
            <a:off x="1612900" y="882650"/>
            <a:ext cx="8101201" cy="6446035"/>
          </a:xfrm>
          <a:prstGeom prst="rect">
            <a:avLst/>
          </a:prstGeom>
        </p:spPr>
      </p:pic>
    </p:spTree>
    <p:extLst>
      <p:ext uri="{BB962C8B-B14F-4D97-AF65-F5344CB8AC3E}">
        <p14:creationId xmlns:p14="http://schemas.microsoft.com/office/powerpoint/2010/main" val="32084415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A576995-140D-9167-FF7E-80D5EDAFE9CF}"/>
              </a:ext>
            </a:extLst>
          </p:cNvPr>
          <p:cNvSpPr>
            <a:spLocks noGrp="1"/>
          </p:cNvSpPr>
          <p:nvPr>
            <p:ph type="title"/>
          </p:nvPr>
        </p:nvSpPr>
        <p:spPr>
          <a:xfrm>
            <a:off x="1169456" y="1054100"/>
            <a:ext cx="4477385" cy="430887"/>
          </a:xfrm>
        </p:spPr>
        <p:txBody>
          <a:bodyPr/>
          <a:lstStyle/>
          <a:p>
            <a:pPr rtl="0"/>
            <a:r>
              <a:rPr lang="en-AU" dirty="0"/>
              <a:t>Why an Advocate? </a:t>
            </a:r>
          </a:p>
        </p:txBody>
      </p:sp>
      <p:pic>
        <p:nvPicPr>
          <p:cNvPr id="3" name="Picture 2">
            <a:extLst>
              <a:ext uri="{FF2B5EF4-FFF2-40B4-BE49-F238E27FC236}">
                <a16:creationId xmlns:a16="http://schemas.microsoft.com/office/drawing/2014/main" id="{9B0E0AFC-7CBA-59A4-DE55-2C9010BA4A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3900" y="1484987"/>
            <a:ext cx="6953885" cy="5930670"/>
          </a:xfrm>
          <a:prstGeom prst="rect">
            <a:avLst/>
          </a:prstGeom>
        </p:spPr>
      </p:pic>
      <p:sp>
        <p:nvSpPr>
          <p:cNvPr id="2" name="Slide Number Placeholder 3">
            <a:extLst>
              <a:ext uri="{FF2B5EF4-FFF2-40B4-BE49-F238E27FC236}">
                <a16:creationId xmlns:a16="http://schemas.microsoft.com/office/drawing/2014/main" id="{308C903B-1D17-E85C-A277-D6EE2BE68A8C}"/>
              </a:ext>
            </a:extLst>
          </p:cNvPr>
          <p:cNvSpPr>
            <a:spLocks noGrp="1"/>
          </p:cNvSpPr>
          <p:nvPr>
            <p:ph type="sldNum" sz="quarter" idx="7"/>
          </p:nvPr>
        </p:nvSpPr>
        <p:spPr>
          <a:xfrm>
            <a:off x="7699248" y="6978650"/>
            <a:ext cx="2459482" cy="377825"/>
          </a:xfrm>
        </p:spPr>
        <p:txBody>
          <a:bodyPr/>
          <a:lstStyle/>
          <a:p>
            <a:fld id="{B6F15528-21DE-4FAA-801E-634DDDAF4B2B}" type="slidenum">
              <a:rPr lang="en-AU" smtClean="0"/>
              <a:t>59</a:t>
            </a:fld>
            <a:endParaRPr lang="en-AU" dirty="0"/>
          </a:p>
        </p:txBody>
      </p:sp>
    </p:spTree>
    <p:extLst>
      <p:ext uri="{BB962C8B-B14F-4D97-AF65-F5344CB8AC3E}">
        <p14:creationId xmlns:p14="http://schemas.microsoft.com/office/powerpoint/2010/main" val="14056640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1FEF7-9BC3-59C9-298A-C7A4989DBCB8}"/>
              </a:ext>
            </a:extLst>
          </p:cNvPr>
          <p:cNvSpPr>
            <a:spLocks noGrp="1"/>
          </p:cNvSpPr>
          <p:nvPr>
            <p:ph type="title"/>
          </p:nvPr>
        </p:nvSpPr>
        <p:spPr>
          <a:xfrm>
            <a:off x="1079500" y="1035051"/>
            <a:ext cx="4724400" cy="1107996"/>
          </a:xfrm>
        </p:spPr>
        <p:txBody>
          <a:bodyPr/>
          <a:lstStyle/>
          <a:p>
            <a:r>
              <a:rPr lang="en-AU" dirty="0"/>
              <a:t>Introducing:</a:t>
            </a:r>
            <a:br>
              <a:rPr lang="en-AU" dirty="0"/>
            </a:br>
            <a:r>
              <a:rPr lang="en-AU" dirty="0"/>
              <a:t>Nim De Swardt</a:t>
            </a:r>
            <a:br>
              <a:rPr lang="en-AU" dirty="0"/>
            </a:br>
            <a:r>
              <a:rPr lang="en-AU" sz="1600" dirty="0"/>
              <a:t>www.nimdeswardt.com</a:t>
            </a:r>
            <a:endParaRPr lang="en-AU" dirty="0"/>
          </a:p>
        </p:txBody>
      </p:sp>
      <p:sp>
        <p:nvSpPr>
          <p:cNvPr id="3" name="Text Placeholder 2">
            <a:extLst>
              <a:ext uri="{FF2B5EF4-FFF2-40B4-BE49-F238E27FC236}">
                <a16:creationId xmlns:a16="http://schemas.microsoft.com/office/drawing/2014/main" id="{D3418246-0DC1-6E07-000C-746175CCE676}"/>
              </a:ext>
            </a:extLst>
          </p:cNvPr>
          <p:cNvSpPr>
            <a:spLocks noGrp="1"/>
          </p:cNvSpPr>
          <p:nvPr>
            <p:ph type="body" idx="1"/>
          </p:nvPr>
        </p:nvSpPr>
        <p:spPr>
          <a:xfrm>
            <a:off x="1003300" y="2711450"/>
            <a:ext cx="8989274" cy="4390304"/>
          </a:xfrm>
        </p:spPr>
        <p:txBody>
          <a:bodyPr/>
          <a:lstStyle/>
          <a:p>
            <a:pPr algn="l">
              <a:lnSpc>
                <a:spcPct val="150000"/>
              </a:lnSpc>
              <a:buNone/>
            </a:pPr>
            <a:r>
              <a:rPr lang="en-US" sz="1600" dirty="0">
                <a:solidFill>
                  <a:srgbClr val="112E32"/>
                </a:solidFill>
                <a:latin typeface="Montserrat" pitchFamily="2" charset="0"/>
              </a:rPr>
              <a:t>Nim has</a:t>
            </a:r>
            <a:r>
              <a:rPr lang="en-US" sz="1600" b="0" i="0" dirty="0">
                <a:solidFill>
                  <a:srgbClr val="112E32"/>
                </a:solidFill>
                <a:effectLst/>
                <a:latin typeface="Montserrat" pitchFamily="2" charset="0"/>
              </a:rPr>
              <a:t> spent 20+ years in communications, exploring the intersection of </a:t>
            </a:r>
            <a:r>
              <a:rPr lang="en-US" sz="1600" b="1" i="0" dirty="0">
                <a:solidFill>
                  <a:srgbClr val="112E32"/>
                </a:solidFill>
                <a:effectLst/>
                <a:latin typeface="Montserrat" pitchFamily="2" charset="0"/>
              </a:rPr>
              <a:t>narrative psychology, narrative therapy, social science, and intergenerational connection</a:t>
            </a:r>
            <a:r>
              <a:rPr lang="en-US" sz="1600" b="0" i="0" dirty="0">
                <a:solidFill>
                  <a:srgbClr val="112E32"/>
                </a:solidFill>
                <a:effectLst/>
                <a:latin typeface="Montserrat" pitchFamily="2" charset="0"/>
              </a:rPr>
              <a:t> to develop unique frameworks that spark transformation.</a:t>
            </a:r>
          </a:p>
          <a:p>
            <a:pPr algn="l">
              <a:lnSpc>
                <a:spcPct val="150000"/>
              </a:lnSpc>
              <a:buNone/>
            </a:pPr>
            <a:r>
              <a:rPr lang="en-US" sz="1600" b="1" i="0" dirty="0">
                <a:solidFill>
                  <a:srgbClr val="112E32"/>
                </a:solidFill>
                <a:effectLst/>
                <a:latin typeface="Montserrat" pitchFamily="2" charset="0"/>
              </a:rPr>
              <a:t>Curiosity and relational intelligence</a:t>
            </a:r>
            <a:r>
              <a:rPr lang="en-US" sz="1600" b="0" i="0" dirty="0">
                <a:solidFill>
                  <a:srgbClr val="112E32"/>
                </a:solidFill>
                <a:effectLst/>
                <a:latin typeface="Montserrat" pitchFamily="2" charset="0"/>
              </a:rPr>
              <a:t> are Nim’s greatest strengths.</a:t>
            </a:r>
          </a:p>
          <a:p>
            <a:pPr algn="l">
              <a:lnSpc>
                <a:spcPct val="150000"/>
              </a:lnSpc>
              <a:buNone/>
            </a:pPr>
            <a:r>
              <a:rPr lang="en-US" sz="1600" b="0" i="0" dirty="0">
                <a:solidFill>
                  <a:srgbClr val="112E32"/>
                </a:solidFill>
                <a:effectLst/>
                <a:latin typeface="Montserrat" pitchFamily="2" charset="0"/>
              </a:rPr>
              <a:t>Living across four continents and travelling to over 64 countries has given Nim a global lens on human connection. </a:t>
            </a:r>
          </a:p>
          <a:p>
            <a:pPr algn="l">
              <a:lnSpc>
                <a:spcPct val="150000"/>
              </a:lnSpc>
              <a:buNone/>
            </a:pPr>
            <a:r>
              <a:rPr lang="en-US" sz="1600" dirty="0">
                <a:solidFill>
                  <a:srgbClr val="112E32"/>
                </a:solidFill>
                <a:latin typeface="Montserrat" pitchFamily="2" charset="0"/>
              </a:rPr>
              <a:t>Nim has</a:t>
            </a:r>
            <a:r>
              <a:rPr lang="en-US" sz="1600" b="0" i="0" dirty="0">
                <a:solidFill>
                  <a:srgbClr val="112E32"/>
                </a:solidFill>
                <a:effectLst/>
                <a:latin typeface="Montserrat" pitchFamily="2" charset="0"/>
              </a:rPr>
              <a:t> seen firsthand how </a:t>
            </a:r>
            <a:r>
              <a:rPr lang="en-US" sz="1600" b="1" i="0" dirty="0">
                <a:solidFill>
                  <a:srgbClr val="112E32"/>
                </a:solidFill>
                <a:effectLst/>
                <a:latin typeface="Montserrat" pitchFamily="2" charset="0"/>
              </a:rPr>
              <a:t>narratives shape perspectives, deepen understanding, and bridge divides</a:t>
            </a:r>
            <a:r>
              <a:rPr lang="en-US" sz="1600" b="0" i="0" dirty="0">
                <a:solidFill>
                  <a:srgbClr val="112E32"/>
                </a:solidFill>
                <a:effectLst/>
                <a:latin typeface="Montserrat" pitchFamily="2" charset="0"/>
              </a:rPr>
              <a:t>. Travel has been Nim’s greatest classroom, revealing the </a:t>
            </a:r>
            <a:r>
              <a:rPr lang="en-US" sz="1600" b="1" i="0" dirty="0">
                <a:solidFill>
                  <a:srgbClr val="112E32"/>
                </a:solidFill>
                <a:effectLst/>
                <a:latin typeface="Montserrat" pitchFamily="2" charset="0"/>
              </a:rPr>
              <a:t>universal power of story.</a:t>
            </a:r>
            <a:endParaRPr lang="en-US" sz="1600" b="0" i="0" dirty="0">
              <a:solidFill>
                <a:srgbClr val="112E32"/>
              </a:solidFill>
              <a:effectLst/>
              <a:latin typeface="Montserrat" pitchFamily="2" charset="0"/>
            </a:endParaRPr>
          </a:p>
          <a:p>
            <a:pPr algn="l">
              <a:lnSpc>
                <a:spcPct val="150000"/>
              </a:lnSpc>
              <a:buNone/>
            </a:pPr>
            <a:r>
              <a:rPr lang="en-US" sz="1600" b="0" i="0" dirty="0">
                <a:solidFill>
                  <a:srgbClr val="112E32"/>
                </a:solidFill>
                <a:effectLst/>
                <a:latin typeface="Montserrat" pitchFamily="2" charset="0"/>
              </a:rPr>
              <a:t>Whether working with families, brands, or boards – Nim’s North Star remains the same:</a:t>
            </a:r>
          </a:p>
          <a:p>
            <a:pPr algn="l">
              <a:lnSpc>
                <a:spcPct val="150000"/>
              </a:lnSpc>
              <a:buNone/>
            </a:pPr>
            <a:r>
              <a:rPr lang="en-US" sz="1600" b="0" i="0" dirty="0">
                <a:solidFill>
                  <a:srgbClr val="112E32"/>
                </a:solidFill>
                <a:effectLst/>
                <a:latin typeface="Montserrat" pitchFamily="2" charset="0"/>
              </a:rPr>
              <a:t>Stories = Connection </a:t>
            </a:r>
          </a:p>
          <a:p>
            <a:pPr algn="l">
              <a:lnSpc>
                <a:spcPct val="150000"/>
              </a:lnSpc>
            </a:pPr>
            <a:r>
              <a:rPr lang="en-US" sz="1600" b="0" i="0" dirty="0">
                <a:solidFill>
                  <a:srgbClr val="112E32"/>
                </a:solidFill>
                <a:effectLst/>
                <a:latin typeface="Montserrat" pitchFamily="2" charset="0"/>
              </a:rPr>
              <a:t>Connection = Health, Growth, and Belonging</a:t>
            </a:r>
          </a:p>
        </p:txBody>
      </p:sp>
      <p:sp>
        <p:nvSpPr>
          <p:cNvPr id="4" name="Slide Number Placeholder 3">
            <a:extLst>
              <a:ext uri="{FF2B5EF4-FFF2-40B4-BE49-F238E27FC236}">
                <a16:creationId xmlns:a16="http://schemas.microsoft.com/office/drawing/2014/main" id="{053599C8-FCAB-1E0D-E5C7-19BA12AB1195}"/>
              </a:ext>
            </a:extLst>
          </p:cNvPr>
          <p:cNvSpPr>
            <a:spLocks noGrp="1"/>
          </p:cNvSpPr>
          <p:nvPr>
            <p:ph type="sldNum" sz="quarter" idx="7"/>
          </p:nvPr>
        </p:nvSpPr>
        <p:spPr/>
        <p:txBody>
          <a:bodyPr/>
          <a:lstStyle/>
          <a:p>
            <a:fld id="{B6F15528-21DE-4FAA-801E-634DDDAF4B2B}" type="slidenum">
              <a:rPr lang="en-AU" smtClean="0"/>
              <a:t>6</a:t>
            </a:fld>
            <a:endParaRPr lang="en-AU"/>
          </a:p>
        </p:txBody>
      </p:sp>
      <p:pic>
        <p:nvPicPr>
          <p:cNvPr id="6" name="Picture 5">
            <a:extLst>
              <a:ext uri="{FF2B5EF4-FFF2-40B4-BE49-F238E27FC236}">
                <a16:creationId xmlns:a16="http://schemas.microsoft.com/office/drawing/2014/main" id="{375F7976-2E14-9C6C-A066-B0BC8FC6BC88}"/>
              </a:ext>
            </a:extLst>
          </p:cNvPr>
          <p:cNvPicPr>
            <a:picLocks noChangeAspect="1"/>
          </p:cNvPicPr>
          <p:nvPr/>
        </p:nvPicPr>
        <p:blipFill>
          <a:blip r:embed="rId2"/>
          <a:stretch>
            <a:fillRect/>
          </a:stretch>
        </p:blipFill>
        <p:spPr>
          <a:xfrm>
            <a:off x="7099300" y="759290"/>
            <a:ext cx="2174781" cy="1478507"/>
          </a:xfrm>
          <a:prstGeom prst="rect">
            <a:avLst/>
          </a:prstGeom>
        </p:spPr>
      </p:pic>
    </p:spTree>
    <p:extLst>
      <p:ext uri="{BB962C8B-B14F-4D97-AF65-F5344CB8AC3E}">
        <p14:creationId xmlns:p14="http://schemas.microsoft.com/office/powerpoint/2010/main" val="7188699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9" y="1070509"/>
            <a:ext cx="6530024" cy="443595"/>
          </a:xfrm>
          <a:prstGeom prst="rect">
            <a:avLst/>
          </a:prstGeom>
        </p:spPr>
        <p:txBody>
          <a:bodyPr vert="horz" wrap="square" lIns="0" tIns="12585" rIns="0" bIns="0" rtlCol="0">
            <a:spAutoFit/>
          </a:bodyPr>
          <a:lstStyle/>
          <a:p>
            <a:pPr marL="12587" rtl="0">
              <a:spcBef>
                <a:spcPts val="99"/>
              </a:spcBef>
            </a:pPr>
            <a:r>
              <a:rPr lang="en-AU" spc="-10" dirty="0"/>
              <a:t>Confidence Levels</a:t>
            </a:r>
            <a:endParaRPr spc="-10" dirty="0"/>
          </a:p>
        </p:txBody>
      </p:sp>
      <p:pic>
        <p:nvPicPr>
          <p:cNvPr id="4" name="Picture 3">
            <a:extLst>
              <a:ext uri="{FF2B5EF4-FFF2-40B4-BE49-F238E27FC236}">
                <a16:creationId xmlns:a16="http://schemas.microsoft.com/office/drawing/2014/main" id="{94B20D09-DC2A-9CCC-FA68-31EF4B642C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8458" y="1426137"/>
            <a:ext cx="9137442" cy="5890021"/>
          </a:xfrm>
          <a:prstGeom prst="rect">
            <a:avLst/>
          </a:prstGeom>
        </p:spPr>
      </p:pic>
      <p:sp>
        <p:nvSpPr>
          <p:cNvPr id="3" name="Slide Number Placeholder 3">
            <a:extLst>
              <a:ext uri="{FF2B5EF4-FFF2-40B4-BE49-F238E27FC236}">
                <a16:creationId xmlns:a16="http://schemas.microsoft.com/office/drawing/2014/main" id="{AD41B909-8974-03FC-08CC-7F7E2B2AA1A6}"/>
              </a:ext>
            </a:extLst>
          </p:cNvPr>
          <p:cNvSpPr>
            <a:spLocks noGrp="1"/>
          </p:cNvSpPr>
          <p:nvPr>
            <p:ph type="sldNum" sz="quarter" idx="7"/>
          </p:nvPr>
        </p:nvSpPr>
        <p:spPr>
          <a:xfrm>
            <a:off x="927100" y="7115869"/>
            <a:ext cx="478282" cy="377825"/>
          </a:xfrm>
        </p:spPr>
        <p:txBody>
          <a:bodyPr/>
          <a:lstStyle/>
          <a:p>
            <a:fld id="{B6F15528-21DE-4FAA-801E-634DDDAF4B2B}" type="slidenum">
              <a:rPr lang="en-AU" smtClean="0"/>
              <a:t>60</a:t>
            </a:fld>
            <a:endParaRPr lang="en-AU" dirty="0"/>
          </a:p>
        </p:txBody>
      </p:sp>
    </p:spTree>
    <p:extLst>
      <p:ext uri="{BB962C8B-B14F-4D97-AF65-F5344CB8AC3E}">
        <p14:creationId xmlns:p14="http://schemas.microsoft.com/office/powerpoint/2010/main" val="3527950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8" y="1070509"/>
            <a:ext cx="7245141" cy="443595"/>
          </a:xfrm>
          <a:prstGeom prst="rect">
            <a:avLst/>
          </a:prstGeom>
        </p:spPr>
        <p:txBody>
          <a:bodyPr vert="horz" wrap="square" lIns="0" tIns="12585" rIns="0" bIns="0" rtlCol="0">
            <a:spAutoFit/>
          </a:bodyPr>
          <a:lstStyle/>
          <a:p>
            <a:pPr marL="12587">
              <a:spcBef>
                <a:spcPts val="99"/>
              </a:spcBef>
            </a:pPr>
            <a:r>
              <a:rPr lang="en-AU" dirty="0"/>
              <a:t>Skills &amp; Competencies in all areas of life</a:t>
            </a:r>
            <a:endParaRPr spc="-10" dirty="0"/>
          </a:p>
        </p:txBody>
      </p:sp>
      <p:pic>
        <p:nvPicPr>
          <p:cNvPr id="4" name="Picture 3">
            <a:extLst>
              <a:ext uri="{FF2B5EF4-FFF2-40B4-BE49-F238E27FC236}">
                <a16:creationId xmlns:a16="http://schemas.microsoft.com/office/drawing/2014/main" id="{930F43EF-8ABD-4847-52D7-269346D1D2A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33976" y="1720850"/>
            <a:ext cx="7772400" cy="5233800"/>
          </a:xfrm>
          <a:prstGeom prst="rect">
            <a:avLst/>
          </a:prstGeom>
        </p:spPr>
      </p:pic>
      <p:sp>
        <p:nvSpPr>
          <p:cNvPr id="3" name="Slide Number Placeholder 3">
            <a:extLst>
              <a:ext uri="{FF2B5EF4-FFF2-40B4-BE49-F238E27FC236}">
                <a16:creationId xmlns:a16="http://schemas.microsoft.com/office/drawing/2014/main" id="{E86DDD89-7A7B-39F7-8C80-E8813D2C6F8B}"/>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61</a:t>
            </a:fld>
            <a:endParaRPr lang="en-AU" dirty="0"/>
          </a:p>
        </p:txBody>
      </p:sp>
    </p:spTree>
    <p:extLst>
      <p:ext uri="{BB962C8B-B14F-4D97-AF65-F5344CB8AC3E}">
        <p14:creationId xmlns:p14="http://schemas.microsoft.com/office/powerpoint/2010/main" val="22170439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1CC11-5C6C-2B4C-8822-1F619E9CF6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6899D5-92EF-429E-3DBF-66F2C895AAA1}"/>
              </a:ext>
            </a:extLst>
          </p:cNvPr>
          <p:cNvSpPr>
            <a:spLocks noGrp="1"/>
          </p:cNvSpPr>
          <p:nvPr>
            <p:ph type="title"/>
          </p:nvPr>
        </p:nvSpPr>
        <p:spPr>
          <a:xfrm>
            <a:off x="1169456" y="1054100"/>
            <a:ext cx="7530044" cy="430887"/>
          </a:xfrm>
        </p:spPr>
        <p:txBody>
          <a:bodyPr/>
          <a:lstStyle/>
          <a:p>
            <a:r>
              <a:rPr lang="en-AU" dirty="0"/>
              <a:t>SAN </a:t>
            </a:r>
            <a:r>
              <a:rPr lang="en-NL" dirty="0"/>
              <a:t>Advocate</a:t>
            </a:r>
            <a:r>
              <a:rPr lang="en-AU" dirty="0"/>
              <a:t> – 4 Sets of Sights</a:t>
            </a:r>
            <a:endParaRPr lang="en-NL" dirty="0"/>
          </a:p>
        </p:txBody>
      </p:sp>
      <p:pic>
        <p:nvPicPr>
          <p:cNvPr id="7" name="Picture 6">
            <a:extLst>
              <a:ext uri="{FF2B5EF4-FFF2-40B4-BE49-F238E27FC236}">
                <a16:creationId xmlns:a16="http://schemas.microsoft.com/office/drawing/2014/main" id="{AA76F5C4-D6DE-707F-A2CC-5A54F7D41E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9456" y="1720850"/>
            <a:ext cx="8215844" cy="5495365"/>
          </a:xfrm>
          <a:prstGeom prst="rect">
            <a:avLst/>
          </a:prstGeom>
        </p:spPr>
      </p:pic>
      <p:sp>
        <p:nvSpPr>
          <p:cNvPr id="3" name="Slide Number Placeholder 2">
            <a:extLst>
              <a:ext uri="{FF2B5EF4-FFF2-40B4-BE49-F238E27FC236}">
                <a16:creationId xmlns:a16="http://schemas.microsoft.com/office/drawing/2014/main" id="{7CB3EABA-133E-695C-177D-17B0A49C83A4}"/>
              </a:ext>
            </a:extLst>
          </p:cNvPr>
          <p:cNvSpPr>
            <a:spLocks noGrp="1"/>
          </p:cNvSpPr>
          <p:nvPr>
            <p:ph type="sldNum" sz="quarter" idx="7"/>
          </p:nvPr>
        </p:nvSpPr>
        <p:spPr/>
        <p:txBody>
          <a:bodyPr/>
          <a:lstStyle/>
          <a:p>
            <a:fld id="{B6F15528-21DE-4FAA-801E-634DDDAF4B2B}" type="slidenum">
              <a:rPr lang="en-AU" smtClean="0"/>
              <a:t>62</a:t>
            </a:fld>
            <a:endParaRPr lang="en-AU"/>
          </a:p>
        </p:txBody>
      </p:sp>
    </p:spTree>
    <p:extLst>
      <p:ext uri="{BB962C8B-B14F-4D97-AF65-F5344CB8AC3E}">
        <p14:creationId xmlns:p14="http://schemas.microsoft.com/office/powerpoint/2010/main" val="6589025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8" y="1070509"/>
            <a:ext cx="7626141" cy="443595"/>
          </a:xfrm>
          <a:prstGeom prst="rect">
            <a:avLst/>
          </a:prstGeom>
        </p:spPr>
        <p:txBody>
          <a:bodyPr vert="horz" wrap="square" lIns="0" tIns="12585" rIns="0" bIns="0" rtlCol="0">
            <a:spAutoFit/>
          </a:bodyPr>
          <a:lstStyle/>
          <a:p>
            <a:pPr marL="12587" rtl="0">
              <a:spcBef>
                <a:spcPts val="99"/>
              </a:spcBef>
            </a:pPr>
            <a:r>
              <a:rPr lang="en-AU" spc="-10" dirty="0"/>
              <a:t>Business- 4  Sets of Sights</a:t>
            </a:r>
            <a:endParaRPr spc="-10" dirty="0"/>
          </a:p>
        </p:txBody>
      </p:sp>
      <p:pic>
        <p:nvPicPr>
          <p:cNvPr id="4" name="Picture 3">
            <a:extLst>
              <a:ext uri="{FF2B5EF4-FFF2-40B4-BE49-F238E27FC236}">
                <a16:creationId xmlns:a16="http://schemas.microsoft.com/office/drawing/2014/main" id="{D37D5FBF-6D57-C01D-53F5-FF01620D78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9152" y="1514104"/>
            <a:ext cx="8921542" cy="5717248"/>
          </a:xfrm>
          <a:prstGeom prst="rect">
            <a:avLst/>
          </a:prstGeom>
        </p:spPr>
      </p:pic>
      <p:sp>
        <p:nvSpPr>
          <p:cNvPr id="3" name="Slide Number Placeholder 2">
            <a:extLst>
              <a:ext uri="{FF2B5EF4-FFF2-40B4-BE49-F238E27FC236}">
                <a16:creationId xmlns:a16="http://schemas.microsoft.com/office/drawing/2014/main" id="{B812CC3F-8656-D17F-822D-DC24CA7DCDA0}"/>
              </a:ext>
            </a:extLst>
          </p:cNvPr>
          <p:cNvSpPr>
            <a:spLocks noGrp="1"/>
          </p:cNvSpPr>
          <p:nvPr>
            <p:ph type="sldNum" sz="quarter" idx="7"/>
          </p:nvPr>
        </p:nvSpPr>
        <p:spPr/>
        <p:txBody>
          <a:bodyPr/>
          <a:lstStyle/>
          <a:p>
            <a:fld id="{B6F15528-21DE-4FAA-801E-634DDDAF4B2B}" type="slidenum">
              <a:rPr lang="en-AU" smtClean="0"/>
              <a:t>63</a:t>
            </a:fld>
            <a:endParaRPr lang="en-AU"/>
          </a:p>
        </p:txBody>
      </p:sp>
    </p:spTree>
    <p:extLst>
      <p:ext uri="{BB962C8B-B14F-4D97-AF65-F5344CB8AC3E}">
        <p14:creationId xmlns:p14="http://schemas.microsoft.com/office/powerpoint/2010/main" val="2351433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897E6-D9BF-624B-965D-F62AC9C7A726}"/>
              </a:ext>
            </a:extLst>
          </p:cNvPr>
          <p:cNvSpPr>
            <a:spLocks noGrp="1"/>
          </p:cNvSpPr>
          <p:nvPr>
            <p:ph type="title"/>
          </p:nvPr>
        </p:nvSpPr>
        <p:spPr>
          <a:xfrm>
            <a:off x="1169456" y="1054100"/>
            <a:ext cx="7530044" cy="430887"/>
          </a:xfrm>
        </p:spPr>
        <p:txBody>
          <a:bodyPr/>
          <a:lstStyle/>
          <a:p>
            <a:r>
              <a:rPr lang="en-NL" dirty="0"/>
              <a:t>Advisory Board- 4 Sets of Sights </a:t>
            </a:r>
          </a:p>
        </p:txBody>
      </p:sp>
      <p:pic>
        <p:nvPicPr>
          <p:cNvPr id="4" name="Picture 3">
            <a:extLst>
              <a:ext uri="{FF2B5EF4-FFF2-40B4-BE49-F238E27FC236}">
                <a16:creationId xmlns:a16="http://schemas.microsoft.com/office/drawing/2014/main" id="{5BA7BF17-251C-F119-3D88-4B6E98C03554}"/>
              </a:ext>
            </a:extLst>
          </p:cNvPr>
          <p:cNvPicPr>
            <a:picLocks noChangeAspect="1"/>
          </p:cNvPicPr>
          <p:nvPr/>
        </p:nvPicPr>
        <p:blipFill>
          <a:blip r:embed="rId2"/>
          <a:stretch>
            <a:fillRect/>
          </a:stretch>
        </p:blipFill>
        <p:spPr>
          <a:xfrm>
            <a:off x="1079500" y="1797050"/>
            <a:ext cx="8878539" cy="5353797"/>
          </a:xfrm>
          <a:prstGeom prst="rect">
            <a:avLst/>
          </a:prstGeom>
        </p:spPr>
      </p:pic>
      <p:sp>
        <p:nvSpPr>
          <p:cNvPr id="3" name="Slide Number Placeholder 2">
            <a:extLst>
              <a:ext uri="{FF2B5EF4-FFF2-40B4-BE49-F238E27FC236}">
                <a16:creationId xmlns:a16="http://schemas.microsoft.com/office/drawing/2014/main" id="{AD85AF6A-5935-4E6F-5D31-34D4A4A27C38}"/>
              </a:ext>
            </a:extLst>
          </p:cNvPr>
          <p:cNvSpPr>
            <a:spLocks noGrp="1"/>
          </p:cNvSpPr>
          <p:nvPr>
            <p:ph type="sldNum" sz="quarter" idx="7"/>
          </p:nvPr>
        </p:nvSpPr>
        <p:spPr/>
        <p:txBody>
          <a:bodyPr/>
          <a:lstStyle/>
          <a:p>
            <a:fld id="{B6F15528-21DE-4FAA-801E-634DDDAF4B2B}" type="slidenum">
              <a:rPr lang="en-AU" smtClean="0"/>
              <a:t>64</a:t>
            </a:fld>
            <a:endParaRPr lang="en-AU"/>
          </a:p>
        </p:txBody>
      </p:sp>
    </p:spTree>
    <p:extLst>
      <p:ext uri="{BB962C8B-B14F-4D97-AF65-F5344CB8AC3E}">
        <p14:creationId xmlns:p14="http://schemas.microsoft.com/office/powerpoint/2010/main" val="19403044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615CF873-D816-279A-04E8-3F8214B7DEAE}"/>
              </a:ext>
            </a:extLst>
          </p:cNvPr>
          <p:cNvSpPr txBox="1">
            <a:spLocks/>
          </p:cNvSpPr>
          <p:nvPr/>
        </p:nvSpPr>
        <p:spPr>
          <a:xfrm>
            <a:off x="1308100" y="958850"/>
            <a:ext cx="7626141" cy="443595"/>
          </a:xfrm>
          <a:prstGeom prst="rect">
            <a:avLst/>
          </a:prstGeom>
        </p:spPr>
        <p:txBody>
          <a:bodyPr vert="horz" wrap="square" lIns="0" tIns="12585" rIns="0" bIns="0" rtlCol="0">
            <a:spAutoFit/>
          </a:bodyPr>
          <a:lstStyle>
            <a:lvl1pPr>
              <a:defRPr sz="2800" b="0" i="0">
                <a:solidFill>
                  <a:srgbClr val="2E3841"/>
                </a:solidFill>
                <a:latin typeface="Montserrat Medium"/>
                <a:ea typeface="+mj-ea"/>
                <a:cs typeface="Montserrat Medium"/>
              </a:defRPr>
            </a:lvl1pPr>
          </a:lstStyle>
          <a:p>
            <a:pPr marL="12587" rtl="0">
              <a:spcBef>
                <a:spcPts val="99"/>
              </a:spcBef>
            </a:pPr>
            <a:r>
              <a:rPr lang="en-US" spc="-10" dirty="0"/>
              <a:t>Ruinous Empathy -V- Radical Candour</a:t>
            </a:r>
          </a:p>
        </p:txBody>
      </p:sp>
      <p:pic>
        <p:nvPicPr>
          <p:cNvPr id="4" name="Picture 3">
            <a:extLst>
              <a:ext uri="{FF2B5EF4-FFF2-40B4-BE49-F238E27FC236}">
                <a16:creationId xmlns:a16="http://schemas.microsoft.com/office/drawing/2014/main" id="{A7448FD0-73D4-E822-E8AD-1AFD8C98567D}"/>
              </a:ext>
            </a:extLst>
          </p:cNvPr>
          <p:cNvPicPr>
            <a:picLocks noChangeAspect="1"/>
          </p:cNvPicPr>
          <p:nvPr/>
        </p:nvPicPr>
        <p:blipFill>
          <a:blip r:embed="rId2"/>
          <a:stretch>
            <a:fillRect/>
          </a:stretch>
        </p:blipFill>
        <p:spPr>
          <a:xfrm>
            <a:off x="1112624" y="1568450"/>
            <a:ext cx="8468152" cy="5757349"/>
          </a:xfrm>
          <a:prstGeom prst="rect">
            <a:avLst/>
          </a:prstGeom>
        </p:spPr>
      </p:pic>
      <p:sp>
        <p:nvSpPr>
          <p:cNvPr id="2" name="Slide Number Placeholder 3">
            <a:extLst>
              <a:ext uri="{FF2B5EF4-FFF2-40B4-BE49-F238E27FC236}">
                <a16:creationId xmlns:a16="http://schemas.microsoft.com/office/drawing/2014/main" id="{EB6A54D9-F516-C8DB-3C26-BC54E946D795}"/>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65</a:t>
            </a:fld>
            <a:endParaRPr lang="en-AU" dirty="0"/>
          </a:p>
        </p:txBody>
      </p:sp>
    </p:spTree>
    <p:extLst>
      <p:ext uri="{BB962C8B-B14F-4D97-AF65-F5344CB8AC3E}">
        <p14:creationId xmlns:p14="http://schemas.microsoft.com/office/powerpoint/2010/main" val="14205694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FE79480-4B23-DE2D-1197-987D8BDE0E61}"/>
              </a:ext>
            </a:extLst>
          </p:cNvPr>
          <p:cNvPicPr>
            <a:picLocks noChangeAspect="1"/>
          </p:cNvPicPr>
          <p:nvPr/>
        </p:nvPicPr>
        <p:blipFill>
          <a:blip r:embed="rId3"/>
          <a:stretch>
            <a:fillRect/>
          </a:stretch>
        </p:blipFill>
        <p:spPr>
          <a:xfrm>
            <a:off x="2298700" y="1800619"/>
            <a:ext cx="7298650" cy="5721619"/>
          </a:xfrm>
          <a:prstGeom prst="rect">
            <a:avLst/>
          </a:prstGeom>
        </p:spPr>
      </p:pic>
      <p:sp>
        <p:nvSpPr>
          <p:cNvPr id="2" name="object 2"/>
          <p:cNvSpPr txBox="1">
            <a:spLocks noGrp="1"/>
          </p:cNvSpPr>
          <p:nvPr>
            <p:ph type="title"/>
          </p:nvPr>
        </p:nvSpPr>
        <p:spPr>
          <a:xfrm>
            <a:off x="1225758" y="1070509"/>
            <a:ext cx="7626141" cy="443595"/>
          </a:xfrm>
          <a:prstGeom prst="rect">
            <a:avLst/>
          </a:prstGeom>
        </p:spPr>
        <p:txBody>
          <a:bodyPr vert="horz" wrap="square" lIns="0" tIns="12585" rIns="0" bIns="0" rtlCol="0">
            <a:spAutoFit/>
          </a:bodyPr>
          <a:lstStyle/>
          <a:p>
            <a:pPr marL="12587" rtl="0">
              <a:spcBef>
                <a:spcPts val="99"/>
              </a:spcBef>
            </a:pPr>
            <a:r>
              <a:rPr lang="en-US" spc="-10" dirty="0"/>
              <a:t>Ruinous Empathy -V- Radical Candour</a:t>
            </a:r>
            <a:endParaRPr spc="-10" dirty="0"/>
          </a:p>
        </p:txBody>
      </p:sp>
      <p:sp>
        <p:nvSpPr>
          <p:cNvPr id="3" name="Slide Number Placeholder 3">
            <a:extLst>
              <a:ext uri="{FF2B5EF4-FFF2-40B4-BE49-F238E27FC236}">
                <a16:creationId xmlns:a16="http://schemas.microsoft.com/office/drawing/2014/main" id="{4BD4B994-D10E-C20D-4B45-763D71986A35}"/>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66</a:t>
            </a:fld>
            <a:endParaRPr lang="en-AU" dirty="0"/>
          </a:p>
        </p:txBody>
      </p:sp>
    </p:spTree>
    <p:extLst>
      <p:ext uri="{BB962C8B-B14F-4D97-AF65-F5344CB8AC3E}">
        <p14:creationId xmlns:p14="http://schemas.microsoft.com/office/powerpoint/2010/main" val="8520706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B7043-8164-4F8B-4B81-5D4256BE2901}"/>
              </a:ext>
            </a:extLst>
          </p:cNvPr>
          <p:cNvSpPr>
            <a:spLocks noGrp="1"/>
          </p:cNvSpPr>
          <p:nvPr>
            <p:ph type="title"/>
          </p:nvPr>
        </p:nvSpPr>
        <p:spPr>
          <a:xfrm>
            <a:off x="1169456" y="1054100"/>
            <a:ext cx="6006044" cy="861774"/>
          </a:xfrm>
        </p:spPr>
        <p:txBody>
          <a:bodyPr/>
          <a:lstStyle/>
          <a:p>
            <a:r>
              <a:rPr lang="en-US" dirty="0"/>
              <a:t>SAN Adviser - Development</a:t>
            </a:r>
            <a:endParaRPr lang="en-AU" dirty="0"/>
          </a:p>
        </p:txBody>
      </p:sp>
      <p:pic>
        <p:nvPicPr>
          <p:cNvPr id="7" name="Picture 6">
            <a:extLst>
              <a:ext uri="{FF2B5EF4-FFF2-40B4-BE49-F238E27FC236}">
                <a16:creationId xmlns:a16="http://schemas.microsoft.com/office/drawing/2014/main" id="{5138AF47-6A9C-8B04-4A11-6733F1B49EEE}"/>
              </a:ext>
            </a:extLst>
          </p:cNvPr>
          <p:cNvPicPr>
            <a:picLocks noChangeAspect="1"/>
          </p:cNvPicPr>
          <p:nvPr/>
        </p:nvPicPr>
        <p:blipFill>
          <a:blip r:embed="rId2"/>
          <a:stretch>
            <a:fillRect/>
          </a:stretch>
        </p:blipFill>
        <p:spPr>
          <a:xfrm>
            <a:off x="1169456" y="2254250"/>
            <a:ext cx="8900282" cy="5177231"/>
          </a:xfrm>
          <a:prstGeom prst="rect">
            <a:avLst/>
          </a:prstGeom>
        </p:spPr>
      </p:pic>
    </p:spTree>
    <p:extLst>
      <p:ext uri="{BB962C8B-B14F-4D97-AF65-F5344CB8AC3E}">
        <p14:creationId xmlns:p14="http://schemas.microsoft.com/office/powerpoint/2010/main" val="28151029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67A05-36EB-ED99-892C-08DF3EDFDF9A}"/>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B9AA434F-26B8-9AEB-BF42-08658DE28963}"/>
              </a:ext>
            </a:extLst>
          </p:cNvPr>
          <p:cNvSpPr>
            <a:spLocks noGrp="1"/>
          </p:cNvSpPr>
          <p:nvPr>
            <p:ph type="title"/>
          </p:nvPr>
        </p:nvSpPr>
        <p:spPr>
          <a:xfrm>
            <a:off x="1079500" y="958850"/>
            <a:ext cx="5105400" cy="467717"/>
          </a:xfrm>
        </p:spPr>
        <p:txBody>
          <a:bodyPr/>
          <a:lstStyle/>
          <a:p>
            <a:pPr algn="ctr"/>
            <a:r>
              <a:rPr lang="en-AU" dirty="0"/>
              <a:t>Personne De Confiance </a:t>
            </a:r>
          </a:p>
        </p:txBody>
      </p:sp>
      <p:pic>
        <p:nvPicPr>
          <p:cNvPr id="12" name="Picture 11" descr="A blue card with white text&#10;&#10;Description automatically generated">
            <a:extLst>
              <a:ext uri="{FF2B5EF4-FFF2-40B4-BE49-F238E27FC236}">
                <a16:creationId xmlns:a16="http://schemas.microsoft.com/office/drawing/2014/main" id="{88571F50-5D42-9B8F-202B-7D08D1F7D2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5300" y="2254250"/>
            <a:ext cx="8229600" cy="3358595"/>
          </a:xfrm>
          <a:prstGeom prst="rect">
            <a:avLst/>
          </a:prstGeom>
        </p:spPr>
      </p:pic>
      <p:sp>
        <p:nvSpPr>
          <p:cNvPr id="2" name="Slide Number Placeholder 1">
            <a:extLst>
              <a:ext uri="{FF2B5EF4-FFF2-40B4-BE49-F238E27FC236}">
                <a16:creationId xmlns:a16="http://schemas.microsoft.com/office/drawing/2014/main" id="{967AD8F6-554C-8731-3A2D-640CAA8741C4}"/>
              </a:ext>
            </a:extLst>
          </p:cNvPr>
          <p:cNvSpPr>
            <a:spLocks noGrp="1"/>
          </p:cNvSpPr>
          <p:nvPr>
            <p:ph type="sldNum" sz="quarter" idx="7"/>
          </p:nvPr>
        </p:nvSpPr>
        <p:spPr/>
        <p:txBody>
          <a:bodyPr/>
          <a:lstStyle/>
          <a:p>
            <a:fld id="{B6F15528-21DE-4FAA-801E-634DDDAF4B2B}" type="slidenum">
              <a:rPr lang="en-AU" smtClean="0"/>
              <a:t>68</a:t>
            </a:fld>
            <a:endParaRPr lang="en-AU"/>
          </a:p>
        </p:txBody>
      </p:sp>
    </p:spTree>
    <p:extLst>
      <p:ext uri="{BB962C8B-B14F-4D97-AF65-F5344CB8AC3E}">
        <p14:creationId xmlns:p14="http://schemas.microsoft.com/office/powerpoint/2010/main" val="250397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FAE916-7E9F-4EA9-6437-F79DFD2B7F3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7651DB-B247-7DDE-8BBC-3601618F2BF3}"/>
              </a:ext>
            </a:extLst>
          </p:cNvPr>
          <p:cNvSpPr>
            <a:spLocks noGrp="1"/>
          </p:cNvSpPr>
          <p:nvPr>
            <p:ph type="title"/>
          </p:nvPr>
        </p:nvSpPr>
        <p:spPr>
          <a:xfrm>
            <a:off x="1079500" y="1035050"/>
            <a:ext cx="3581400" cy="1107996"/>
          </a:xfrm>
        </p:spPr>
        <p:txBody>
          <a:bodyPr/>
          <a:lstStyle/>
          <a:p>
            <a:r>
              <a:rPr lang="en-AU" dirty="0"/>
              <a:t>Introducing:</a:t>
            </a:r>
            <a:br>
              <a:rPr lang="en-AU" dirty="0"/>
            </a:br>
            <a:r>
              <a:rPr lang="en-AU" dirty="0"/>
              <a:t>Anne Hamieh</a:t>
            </a:r>
            <a:br>
              <a:rPr lang="en-AU" dirty="0"/>
            </a:br>
            <a:r>
              <a:rPr lang="en-AU" sz="1600" dirty="0"/>
              <a:t>e: Ahamieh@hub24.com.au</a:t>
            </a:r>
            <a:endParaRPr lang="en-AU" dirty="0"/>
          </a:p>
        </p:txBody>
      </p:sp>
      <p:sp>
        <p:nvSpPr>
          <p:cNvPr id="4" name="Slide Number Placeholder 3">
            <a:extLst>
              <a:ext uri="{FF2B5EF4-FFF2-40B4-BE49-F238E27FC236}">
                <a16:creationId xmlns:a16="http://schemas.microsoft.com/office/drawing/2014/main" id="{5EF9E10A-31BD-6785-B54B-AC911ED93664}"/>
              </a:ext>
            </a:extLst>
          </p:cNvPr>
          <p:cNvSpPr>
            <a:spLocks noGrp="1"/>
          </p:cNvSpPr>
          <p:nvPr>
            <p:ph type="sldNum" sz="quarter" idx="7"/>
          </p:nvPr>
        </p:nvSpPr>
        <p:spPr/>
        <p:txBody>
          <a:bodyPr/>
          <a:lstStyle/>
          <a:p>
            <a:fld id="{B6F15528-21DE-4FAA-801E-634DDDAF4B2B}" type="slidenum">
              <a:rPr lang="en-AU" smtClean="0"/>
              <a:t>7</a:t>
            </a:fld>
            <a:endParaRPr lang="en-AU" dirty="0"/>
          </a:p>
        </p:txBody>
      </p:sp>
      <p:sp>
        <p:nvSpPr>
          <p:cNvPr id="7" name="Text Placeholder 6">
            <a:extLst>
              <a:ext uri="{FF2B5EF4-FFF2-40B4-BE49-F238E27FC236}">
                <a16:creationId xmlns:a16="http://schemas.microsoft.com/office/drawing/2014/main" id="{C75E4FA5-0DF9-5329-0093-99857760A996}"/>
              </a:ext>
            </a:extLst>
          </p:cNvPr>
          <p:cNvSpPr>
            <a:spLocks noGrp="1"/>
          </p:cNvSpPr>
          <p:nvPr>
            <p:ph type="body" idx="1"/>
          </p:nvPr>
        </p:nvSpPr>
        <p:spPr>
          <a:xfrm>
            <a:off x="1003300" y="2635250"/>
            <a:ext cx="8991600" cy="4524315"/>
          </a:xfrm>
        </p:spPr>
        <p:txBody>
          <a:bodyPr/>
          <a:lstStyle/>
          <a:p>
            <a:r>
              <a:rPr lang="en-AU" dirty="0">
                <a:latin typeface="Montserrat" pitchFamily="2" charset="0"/>
              </a:rPr>
              <a:t>Head of Broker &amp; Private Wealth Distribution at HUB24.</a:t>
            </a:r>
          </a:p>
          <a:p>
            <a:endParaRPr lang="en-AU" dirty="0">
              <a:latin typeface="Montserrat" pitchFamily="2" charset="0"/>
            </a:endParaRPr>
          </a:p>
          <a:p>
            <a:pPr>
              <a:lnSpc>
                <a:spcPct val="150000"/>
              </a:lnSpc>
            </a:pPr>
            <a:r>
              <a:rPr lang="en-AU" sz="1600" dirty="0">
                <a:effectLst/>
                <a:latin typeface="Montserrat" pitchFamily="2" charset="0"/>
                <a:ea typeface="Aptos" panose="020B0004020202020204" pitchFamily="34" charset="0"/>
                <a:cs typeface="Times New Roman" panose="02020603050405020304" pitchFamily="18" charset="0"/>
              </a:rPr>
              <a:t>Anne Hamieh leads the Broking and Private Wealth team at HUB24 and has over 25 years’ experience in financial services across funds management and platforms, primarily in distribution leadership roles. Anne was previously Head of Distribution and Marketing at Xplore Wealth and was also Intermediary Sales Manager, Northern at Vanguard Investments where she led the sales team’s distribution and growth of Vanguard’s managed funds and ETFs over five years. Prior, Anne was at </a:t>
            </a:r>
            <a:r>
              <a:rPr lang="en-AU" sz="1600" dirty="0" err="1">
                <a:effectLst/>
                <a:latin typeface="Montserrat" pitchFamily="2" charset="0"/>
                <a:ea typeface="Aptos" panose="020B0004020202020204" pitchFamily="34" charset="0"/>
                <a:cs typeface="Times New Roman" panose="02020603050405020304" pitchFamily="18" charset="0"/>
              </a:rPr>
              <a:t>Centuria</a:t>
            </a:r>
            <a:r>
              <a:rPr lang="en-AU" sz="1600" dirty="0">
                <a:effectLst/>
                <a:latin typeface="Montserrat" pitchFamily="2" charset="0"/>
                <a:ea typeface="Aptos" panose="020B0004020202020204" pitchFamily="34" charset="0"/>
                <a:cs typeface="Times New Roman" panose="02020603050405020304" pitchFamily="18" charset="0"/>
              </a:rPr>
              <a:t> Capital as Head of Distribution Financial Services and held sales roles in her early career at Next Financial and AMP.  Anne has Economics degree from Macquarie University, Graduate Diploma in Management from MGSM and a Graduate Diploma in Applied Finance and Investment from SIA (now KAPLAN).</a:t>
            </a:r>
          </a:p>
          <a:p>
            <a:endParaRPr lang="en-AU" dirty="0">
              <a:latin typeface="Montserrat" pitchFamily="2" charset="0"/>
            </a:endParaRPr>
          </a:p>
        </p:txBody>
      </p:sp>
      <p:pic>
        <p:nvPicPr>
          <p:cNvPr id="5" name="Picture 4">
            <a:extLst>
              <a:ext uri="{FF2B5EF4-FFF2-40B4-BE49-F238E27FC236}">
                <a16:creationId xmlns:a16="http://schemas.microsoft.com/office/drawing/2014/main" id="{5F269A47-4304-6690-CCF4-0D655CAEED08}"/>
              </a:ext>
            </a:extLst>
          </p:cNvPr>
          <p:cNvPicPr>
            <a:picLocks noChangeAspect="1"/>
          </p:cNvPicPr>
          <p:nvPr/>
        </p:nvPicPr>
        <p:blipFill>
          <a:blip r:embed="rId2"/>
          <a:stretch>
            <a:fillRect/>
          </a:stretch>
        </p:blipFill>
        <p:spPr>
          <a:xfrm>
            <a:off x="7620091" y="882650"/>
            <a:ext cx="1471839" cy="1618591"/>
          </a:xfrm>
          <a:prstGeom prst="rect">
            <a:avLst/>
          </a:prstGeom>
        </p:spPr>
      </p:pic>
    </p:spTree>
    <p:extLst>
      <p:ext uri="{BB962C8B-B14F-4D97-AF65-F5344CB8AC3E}">
        <p14:creationId xmlns:p14="http://schemas.microsoft.com/office/powerpoint/2010/main" val="3089672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5758" y="1070509"/>
            <a:ext cx="8235742" cy="443595"/>
          </a:xfrm>
          <a:prstGeom prst="rect">
            <a:avLst/>
          </a:prstGeom>
        </p:spPr>
        <p:txBody>
          <a:bodyPr vert="horz" wrap="square" lIns="0" tIns="12585" rIns="0" bIns="0" rtlCol="0">
            <a:spAutoFit/>
          </a:bodyPr>
          <a:lstStyle/>
          <a:p>
            <a:pPr marL="12587" rtl="0">
              <a:spcBef>
                <a:spcPts val="99"/>
              </a:spcBef>
            </a:pPr>
            <a:r>
              <a:rPr lang="en-US" b="0" i="0" dirty="0">
                <a:solidFill>
                  <a:srgbClr val="000000"/>
                </a:solidFill>
                <a:effectLst/>
              </a:rPr>
              <a:t>Protect, Preserve &amp; Enhance Wealth – For All</a:t>
            </a:r>
            <a:endParaRPr spc="-10" dirty="0"/>
          </a:p>
        </p:txBody>
      </p:sp>
      <p:pic>
        <p:nvPicPr>
          <p:cNvPr id="4" name="Picture 3">
            <a:extLst>
              <a:ext uri="{FF2B5EF4-FFF2-40B4-BE49-F238E27FC236}">
                <a16:creationId xmlns:a16="http://schemas.microsoft.com/office/drawing/2014/main" id="{E0446CCF-68BE-116F-65FD-39FB9AFFFD2D}"/>
              </a:ext>
            </a:extLst>
          </p:cNvPr>
          <p:cNvPicPr>
            <a:picLocks noChangeAspect="1"/>
          </p:cNvPicPr>
          <p:nvPr/>
        </p:nvPicPr>
        <p:blipFill>
          <a:blip r:embed="rId3"/>
          <a:stretch>
            <a:fillRect/>
          </a:stretch>
        </p:blipFill>
        <p:spPr>
          <a:xfrm>
            <a:off x="2146300" y="1873250"/>
            <a:ext cx="6944694" cy="5201376"/>
          </a:xfrm>
          <a:prstGeom prst="rect">
            <a:avLst/>
          </a:prstGeom>
        </p:spPr>
      </p:pic>
    </p:spTree>
    <p:extLst>
      <p:ext uri="{BB962C8B-B14F-4D97-AF65-F5344CB8AC3E}">
        <p14:creationId xmlns:p14="http://schemas.microsoft.com/office/powerpoint/2010/main" val="1078065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55700" y="958850"/>
            <a:ext cx="7626141" cy="812927"/>
          </a:xfrm>
          <a:prstGeom prst="rect">
            <a:avLst/>
          </a:prstGeom>
        </p:spPr>
        <p:txBody>
          <a:bodyPr vert="horz" wrap="square" lIns="0" tIns="12585" rIns="0" bIns="0" rtlCol="0">
            <a:spAutoFit/>
          </a:bodyPr>
          <a:lstStyle/>
          <a:p>
            <a:pPr marL="12587" rtl="0">
              <a:spcBef>
                <a:spcPts val="99"/>
              </a:spcBef>
            </a:pPr>
            <a:r>
              <a:rPr lang="en-AU" spc="-10" dirty="0"/>
              <a:t>The Role of The Adviser is to:</a:t>
            </a:r>
            <a:br>
              <a:rPr lang="en-AU" spc="-10" dirty="0"/>
            </a:br>
            <a:r>
              <a:rPr lang="en-AU" sz="2400" i="1" spc="-10" dirty="0"/>
              <a:t>Protect and grow your family wealth</a:t>
            </a:r>
            <a:endParaRPr i="1" spc="-10" dirty="0"/>
          </a:p>
        </p:txBody>
      </p:sp>
      <p:pic>
        <p:nvPicPr>
          <p:cNvPr id="6" name="Picture 5">
            <a:extLst>
              <a:ext uri="{FF2B5EF4-FFF2-40B4-BE49-F238E27FC236}">
                <a16:creationId xmlns:a16="http://schemas.microsoft.com/office/drawing/2014/main" id="{FE2A46CA-A275-FBF3-AFFD-D1C1B3A655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0500" y="2101850"/>
            <a:ext cx="8169281" cy="4800600"/>
          </a:xfrm>
          <a:prstGeom prst="rect">
            <a:avLst/>
          </a:prstGeom>
        </p:spPr>
      </p:pic>
      <p:sp>
        <p:nvSpPr>
          <p:cNvPr id="4" name="Slide Number Placeholder 3">
            <a:extLst>
              <a:ext uri="{FF2B5EF4-FFF2-40B4-BE49-F238E27FC236}">
                <a16:creationId xmlns:a16="http://schemas.microsoft.com/office/drawing/2014/main" id="{7A728A1C-BDCC-FAA3-E0EE-B20BD10C0AE1}"/>
              </a:ext>
            </a:extLst>
          </p:cNvPr>
          <p:cNvSpPr>
            <a:spLocks noGrp="1"/>
          </p:cNvSpPr>
          <p:nvPr>
            <p:ph type="sldNum" sz="quarter" idx="7"/>
          </p:nvPr>
        </p:nvSpPr>
        <p:spPr>
          <a:xfrm>
            <a:off x="7699248" y="7027545"/>
            <a:ext cx="2459482" cy="377825"/>
          </a:xfrm>
        </p:spPr>
        <p:txBody>
          <a:bodyPr/>
          <a:lstStyle/>
          <a:p>
            <a:fld id="{B6F15528-21DE-4FAA-801E-634DDDAF4B2B}" type="slidenum">
              <a:rPr lang="en-AU" smtClean="0"/>
              <a:t>9</a:t>
            </a:fld>
            <a:endParaRPr lang="en-AU" dirty="0"/>
          </a:p>
        </p:txBody>
      </p:sp>
    </p:spTree>
    <p:extLst>
      <p:ext uri="{BB962C8B-B14F-4D97-AF65-F5344CB8AC3E}">
        <p14:creationId xmlns:p14="http://schemas.microsoft.com/office/powerpoint/2010/main" val="3383824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C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Custom Design">
  <a:themeElements>
    <a:clrScheme name="HUB24">
      <a:dk1>
        <a:sysClr val="windowText" lastClr="000000"/>
      </a:dk1>
      <a:lt1>
        <a:sysClr val="window" lastClr="FFFFFF"/>
      </a:lt1>
      <a:dk2>
        <a:srgbClr val="44546A"/>
      </a:dk2>
      <a:lt2>
        <a:srgbClr val="E7E6E6"/>
      </a:lt2>
      <a:accent1>
        <a:srgbClr val="293C8B"/>
      </a:accent1>
      <a:accent2>
        <a:srgbClr val="0563C1"/>
      </a:accent2>
      <a:accent3>
        <a:srgbClr val="0099C8"/>
      </a:accent3>
      <a:accent4>
        <a:srgbClr val="FFBE37"/>
      </a:accent4>
      <a:accent5>
        <a:srgbClr val="4EBAAF"/>
      </a:accent5>
      <a:accent6>
        <a:srgbClr val="954F72"/>
      </a:accent6>
      <a:hlink>
        <a:srgbClr val="0563C1"/>
      </a:hlink>
      <a:folHlink>
        <a:srgbClr val="293C8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1501204E0E8546970714FFE872A97A" ma:contentTypeVersion="20" ma:contentTypeDescription="Create a new document." ma:contentTypeScope="" ma:versionID="c571dcd68f504901106bdc9b47a6c684">
  <xsd:schema xmlns:xsd="http://www.w3.org/2001/XMLSchema" xmlns:xs="http://www.w3.org/2001/XMLSchema" xmlns:p="http://schemas.microsoft.com/office/2006/metadata/properties" xmlns:ns1="http://schemas.microsoft.com/sharepoint/v3" xmlns:ns2="754c8679-8c3b-4cb4-ba22-a8d7dbdfdbb4" xmlns:ns3="6e81a57f-e398-47b6-98fd-f6700c6fb7fe" xmlns:ns4="f3b6e03b-ad32-48bd-b642-fb933687addb" targetNamespace="http://schemas.microsoft.com/office/2006/metadata/properties" ma:root="true" ma:fieldsID="916f98b719463c51256e1fbc4e8967e7" ns1:_="" ns2:_="" ns3:_="" ns4:_="">
    <xsd:import namespace="http://schemas.microsoft.com/sharepoint/v3"/>
    <xsd:import namespace="754c8679-8c3b-4cb4-ba22-a8d7dbdfdbb4"/>
    <xsd:import namespace="6e81a57f-e398-47b6-98fd-f6700c6fb7fe"/>
    <xsd:import namespace="f3b6e03b-ad32-48bd-b642-fb933687add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4c8679-8c3b-4cb4-ba22-a8d7dbdfdb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37edb66-2f33-4c2f-9104-9fe18fb1b6b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e81a57f-e398-47b6-98fd-f6700c6fb7f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3b6e03b-ad32-48bd-b642-fb933687addb"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5f392f10-55a8-44cb-a09c-740ac177dd52}" ma:internalName="TaxCatchAll" ma:showField="CatchAllData" ma:web="f3b6e03b-ad32-48bd-b642-fb933687add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3b6e03b-ad32-48bd-b642-fb933687addb" xsi:nil="true"/>
    <lcf76f155ced4ddcb4097134ff3c332f xmlns="754c8679-8c3b-4cb4-ba22-a8d7dbdfdbb4">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8C7EC62C-F786-4FD5-864B-F973911C950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54c8679-8c3b-4cb4-ba22-a8d7dbdfdbb4"/>
    <ds:schemaRef ds:uri="6e81a57f-e398-47b6-98fd-f6700c6fb7fe"/>
    <ds:schemaRef ds:uri="f3b6e03b-ad32-48bd-b642-fb933687ad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CF786C-5157-4B9E-9E89-1EF51D8F4708}">
  <ds:schemaRefs>
    <ds:schemaRef ds:uri="http://schemas.microsoft.com/sharepoint/v3/contenttype/forms"/>
  </ds:schemaRefs>
</ds:datastoreItem>
</file>

<file path=customXml/itemProps3.xml><?xml version="1.0" encoding="utf-8"?>
<ds:datastoreItem xmlns:ds="http://schemas.openxmlformats.org/officeDocument/2006/customXml" ds:itemID="{29934A01-E47F-4FFD-B0AC-61CD07721D00}">
  <ds:schemaRefs>
    <ds:schemaRef ds:uri="http://schemas.microsoft.com/sharepoint/v3"/>
    <ds:schemaRef ds:uri="http://schemas.microsoft.com/office/2006/documentManagement/types"/>
    <ds:schemaRef ds:uri="http://purl.org/dc/terms/"/>
    <ds:schemaRef ds:uri="754c8679-8c3b-4cb4-ba22-a8d7dbdfdbb4"/>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http://purl.org/dc/dcmitype/"/>
    <ds:schemaRef ds:uri="f3b6e03b-ad32-48bd-b642-fb933687addb"/>
    <ds:schemaRef ds:uri="6e81a57f-e398-47b6-98fd-f6700c6fb7f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7858</TotalTime>
  <Words>3547</Words>
  <Application>Microsoft Office PowerPoint</Application>
  <PresentationFormat>Custom</PresentationFormat>
  <Paragraphs>703</Paragraphs>
  <Slides>68</Slides>
  <Notes>22</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68</vt:i4>
      </vt:variant>
    </vt:vector>
  </HeadingPairs>
  <TitlesOfParts>
    <vt:vector size="89" baseType="lpstr">
      <vt:lpstr>Aptos</vt:lpstr>
      <vt:lpstr>Arial</vt:lpstr>
      <vt:lpstr>Calibri</vt:lpstr>
      <vt:lpstr>Montserrat</vt:lpstr>
      <vt:lpstr>Montserrat Medium</vt:lpstr>
      <vt:lpstr>Open Sans</vt:lpstr>
      <vt:lpstr>Proxima Nova</vt:lpstr>
      <vt:lpstr>Symbol</vt:lpstr>
      <vt:lpstr>Verdana</vt:lpstr>
      <vt:lpstr>Wingdings</vt:lpstr>
      <vt:lpstr>Office Theme</vt:lpstr>
      <vt:lpstr>Office Theme</vt:lpstr>
      <vt:lpstr>1_Office Theme</vt:lpstr>
      <vt:lpstr>Office Theme</vt:lpstr>
      <vt:lpstr>Office Theme</vt:lpstr>
      <vt:lpstr>1_Office Theme</vt:lpstr>
      <vt:lpstr>1_Office Theme</vt:lpstr>
      <vt:lpstr>Office Theme</vt:lpstr>
      <vt:lpstr>3_Custom Design</vt:lpstr>
      <vt:lpstr>1_Office Theme</vt:lpstr>
      <vt:lpstr>think-cell Slide</vt:lpstr>
      <vt:lpstr>PowerPoint Presentation</vt:lpstr>
      <vt:lpstr>PowerPoint Presentation</vt:lpstr>
      <vt:lpstr>Personne De Confiance </vt:lpstr>
      <vt:lpstr>SAN Adviser</vt:lpstr>
      <vt:lpstr>PowerPoint Presentation</vt:lpstr>
      <vt:lpstr>Introducing: Nim De Swardt www.nimdeswardt.com</vt:lpstr>
      <vt:lpstr>Introducing: Anne Hamieh e: Ahamieh@hub24.com.au</vt:lpstr>
      <vt:lpstr>Protect, Preserve &amp; Enhance Wealth – For All</vt:lpstr>
      <vt:lpstr>The Role of The Adviser is to: Protect and grow your family wealth</vt:lpstr>
      <vt:lpstr>The SAN Client - Ecosystem</vt:lpstr>
      <vt:lpstr>PowerPoint Presentation</vt:lpstr>
      <vt:lpstr>PowerPoint Presentation</vt:lpstr>
      <vt:lpstr>PowerPoint Presentation</vt:lpstr>
      <vt:lpstr>PowerPoint Presentation</vt:lpstr>
      <vt:lpstr>PowerPoint Presentation</vt:lpstr>
      <vt:lpstr>PowerPoint Presentation</vt:lpstr>
      <vt:lpstr>The Architect view </vt:lpstr>
      <vt:lpstr>The Client view</vt:lpstr>
      <vt:lpstr>HUB24 - leveraging capabilities to lead industry change</vt:lpstr>
      <vt:lpstr>HUB24 Group – market leading capability  driving customer value &amp; growth</vt:lpstr>
      <vt:lpstr>myprosperity</vt:lpstr>
      <vt:lpstr>Protect &amp; Grow/Maintain Your Wealth</vt:lpstr>
      <vt:lpstr>Family Wealth Business for the Future</vt:lpstr>
      <vt:lpstr>Protect &amp; Grow The Family Wealth</vt:lpstr>
      <vt:lpstr>SAN Family Wealth Adviser  - Tools</vt:lpstr>
      <vt:lpstr>Advising Significant Families </vt:lpstr>
      <vt:lpstr>PowerPoint Presentation</vt:lpstr>
      <vt:lpstr>Wealth – James E Hughes</vt:lpstr>
      <vt:lpstr>True Wealth – Quantitative &amp; Qualitative</vt:lpstr>
      <vt:lpstr>Wheel of Life</vt:lpstr>
      <vt:lpstr>Be a Great Family- 100 Year Plan</vt:lpstr>
      <vt:lpstr>True Wealth – Our Family</vt:lpstr>
      <vt:lpstr>Can The Family Live The Plan ?</vt:lpstr>
      <vt:lpstr>Situational Coaching </vt:lpstr>
      <vt:lpstr>The Client: McDonald Brothers</vt:lpstr>
      <vt:lpstr>PowerPoint Presentation</vt:lpstr>
      <vt:lpstr>PowerPoint Presentation</vt:lpstr>
      <vt:lpstr>Framework Kit Bag</vt:lpstr>
      <vt:lpstr>DRAFT 12 Month Plan This document is a draft 12 Month Game Plan. It is intended to provide an overview of the areas in which we will be focusing upon over the initial  12 month timeline. </vt:lpstr>
      <vt:lpstr>PowerPoint Presentation</vt:lpstr>
      <vt:lpstr>Handing Over The Baton  </vt:lpstr>
      <vt:lpstr>Receiving the Baton  Considerations, Challenges &amp; Opportunities</vt:lpstr>
      <vt:lpstr>Typical A-B Conversations</vt:lpstr>
      <vt:lpstr>Introducing: Sarah Metcalf www.collectivemanifesto.com.au</vt:lpstr>
      <vt:lpstr>PowerPoint Presentation</vt:lpstr>
      <vt:lpstr>PowerPoint Presentation</vt:lpstr>
      <vt:lpstr>PowerPoint Presentation</vt:lpstr>
      <vt:lpstr>PowerPoint Presentation</vt:lpstr>
      <vt:lpstr>SAN Adviser -   Insurance risk &amp; fairness</vt:lpstr>
      <vt:lpstr>SAN Adviser – Investment 101</vt:lpstr>
      <vt:lpstr>Fair Vs Equal – Risk Vs Reward</vt:lpstr>
      <vt:lpstr>Estate Considerations – Fair Vs Equal</vt:lpstr>
      <vt:lpstr>Balancing Risks</vt:lpstr>
      <vt:lpstr>SAN Adviser | Prudent Person Lens | Financial Wealth</vt:lpstr>
      <vt:lpstr>Decisions Matrix</vt:lpstr>
      <vt:lpstr>Investment &amp; Risk</vt:lpstr>
      <vt:lpstr>Introducing: Matina Jewell www.matinajewell.com </vt:lpstr>
      <vt:lpstr>PowerPoint Presentation</vt:lpstr>
      <vt:lpstr>Why an Advocate? </vt:lpstr>
      <vt:lpstr>Confidence Levels</vt:lpstr>
      <vt:lpstr>Skills &amp; Competencies in all areas of life</vt:lpstr>
      <vt:lpstr>SAN Advocate – 4 Sets of Sights</vt:lpstr>
      <vt:lpstr>Business- 4  Sets of Sights</vt:lpstr>
      <vt:lpstr>Advisory Board- 4 Sets of Sights </vt:lpstr>
      <vt:lpstr>PowerPoint Presentation</vt:lpstr>
      <vt:lpstr>Ruinous Empathy -V- Radical Candour</vt:lpstr>
      <vt:lpstr>SAN Adviser - Development</vt:lpstr>
      <vt:lpstr>Personne De Confianc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makes a Great Life</dc:title>
  <dc:creator>Carolyn Bryant</dc:creator>
  <cp:lastModifiedBy>Carolyn Bryant</cp:lastModifiedBy>
  <cp:revision>11</cp:revision>
  <cp:lastPrinted>2025-05-08T01:10:59Z</cp:lastPrinted>
  <dcterms:created xsi:type="dcterms:W3CDTF">2022-11-03T04:38:14Z</dcterms:created>
  <dcterms:modified xsi:type="dcterms:W3CDTF">2025-05-19T23:2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8-19T00:00:00Z</vt:filetime>
  </property>
  <property fmtid="{D5CDD505-2E9C-101B-9397-08002B2CF9AE}" pid="3" name="LastSaved">
    <vt:filetime>2022-11-03T00:00:00Z</vt:filetime>
  </property>
  <property fmtid="{D5CDD505-2E9C-101B-9397-08002B2CF9AE}" pid="4" name="Producer">
    <vt:lpwstr>macOS Version 10.15.7 (Build 19H1824) Quartz PDFContext</vt:lpwstr>
  </property>
  <property fmtid="{D5CDD505-2E9C-101B-9397-08002B2CF9AE}" pid="5" name="ContentTypeId">
    <vt:lpwstr>0x0101000D1501204E0E8546970714FFE872A97A</vt:lpwstr>
  </property>
  <property fmtid="{D5CDD505-2E9C-101B-9397-08002B2CF9AE}" pid="6" name="MediaServiceImageTags">
    <vt:lpwstr/>
  </property>
</Properties>
</file>